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ppt/charts/chart4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2.xml" ContentType="application/vnd.openxmlformats-officedocument.themeOverride+xml"/>
  <Override PartName="/ppt/drawings/drawing2.xml" ContentType="application/vnd.openxmlformats-officedocument.drawingml.chartshape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5"/>
  </p:notesMasterIdLst>
  <p:sldIdLst>
    <p:sldId id="2145708297" r:id="rId2"/>
    <p:sldId id="2145708177" r:id="rId3"/>
    <p:sldId id="260" r:id="rId4"/>
    <p:sldId id="2145708290" r:id="rId5"/>
    <p:sldId id="2145708218" r:id="rId6"/>
    <p:sldId id="2145708291" r:id="rId7"/>
    <p:sldId id="2145708296" r:id="rId8"/>
    <p:sldId id="2145708295" r:id="rId9"/>
    <p:sldId id="2145708298" r:id="rId10"/>
    <p:sldId id="2145708299" r:id="rId11"/>
    <p:sldId id="259" r:id="rId12"/>
    <p:sldId id="256" r:id="rId13"/>
    <p:sldId id="257" r:id="rId14"/>
    <p:sldId id="258" r:id="rId15"/>
    <p:sldId id="2145708300" r:id="rId16"/>
    <p:sldId id="2145708303" r:id="rId17"/>
    <p:sldId id="2145708301" r:id="rId18"/>
    <p:sldId id="2145708294" r:id="rId19"/>
    <p:sldId id="322" r:id="rId20"/>
    <p:sldId id="2145708293" r:id="rId21"/>
    <p:sldId id="2145708288" r:id="rId22"/>
    <p:sldId id="2145708289" r:id="rId23"/>
    <p:sldId id="2145708302" r:id="rId2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0A10B8C-0D7B-47D7-AFA8-F7497EB8A4E2}" v="24" dt="2021-12-08T14:50:39.13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5904" autoAdjust="0"/>
    <p:restoredTop sz="94660"/>
  </p:normalViewPr>
  <p:slideViewPr>
    <p:cSldViewPr snapToGrid="0">
      <p:cViewPr varScale="1">
        <p:scale>
          <a:sx n="111" d="100"/>
          <a:sy n="111" d="100"/>
        </p:scale>
        <p:origin x="1116" y="13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microsoft.com/office/2015/10/relationships/revisionInfo" Target="revisionInfo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Relationship Id="rId30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oseph Coyle" userId="8d431adc-a424-4d66-8d88-7a5a1508c7a1" providerId="ADAL" clId="{C0A10B8C-0D7B-47D7-AFA8-F7497EB8A4E2}"/>
    <pc:docChg chg="undo custSel addSld delSld modSld sldOrd">
      <pc:chgData name="Joseph Coyle" userId="8d431adc-a424-4d66-8d88-7a5a1508c7a1" providerId="ADAL" clId="{C0A10B8C-0D7B-47D7-AFA8-F7497EB8A4E2}" dt="2021-12-08T14:50:39.129" v="2995"/>
      <pc:docMkLst>
        <pc:docMk/>
      </pc:docMkLst>
      <pc:sldChg chg="addSp modSp mod">
        <pc:chgData name="Joseph Coyle" userId="8d431adc-a424-4d66-8d88-7a5a1508c7a1" providerId="ADAL" clId="{C0A10B8C-0D7B-47D7-AFA8-F7497EB8A4E2}" dt="2021-12-08T14:39:43.196" v="1482" actId="20577"/>
        <pc:sldMkLst>
          <pc:docMk/>
          <pc:sldMk cId="2127821803" sldId="256"/>
        </pc:sldMkLst>
        <pc:spChg chg="add mod">
          <ac:chgData name="Joseph Coyle" userId="8d431adc-a424-4d66-8d88-7a5a1508c7a1" providerId="ADAL" clId="{C0A10B8C-0D7B-47D7-AFA8-F7497EB8A4E2}" dt="2021-12-08T14:39:43.196" v="1482" actId="20577"/>
          <ac:spMkLst>
            <pc:docMk/>
            <pc:sldMk cId="2127821803" sldId="256"/>
            <ac:spMk id="2" creationId="{E049F202-52E5-4D6C-942F-FEE4CC58E029}"/>
          </ac:spMkLst>
        </pc:spChg>
        <pc:graphicFrameChg chg="mod">
          <ac:chgData name="Joseph Coyle" userId="8d431adc-a424-4d66-8d88-7a5a1508c7a1" providerId="ADAL" clId="{C0A10B8C-0D7B-47D7-AFA8-F7497EB8A4E2}" dt="2021-12-08T14:38:56.867" v="1378" actId="1076"/>
          <ac:graphicFrameMkLst>
            <pc:docMk/>
            <pc:sldMk cId="2127821803" sldId="256"/>
            <ac:graphicFrameMk id="6" creationId="{36676B6E-1539-4111-A3E3-D9AC250AF78E}"/>
          </ac:graphicFrameMkLst>
        </pc:graphicFrameChg>
      </pc:sldChg>
      <pc:sldChg chg="addSp delSp modSp mod">
        <pc:chgData name="Joseph Coyle" userId="8d431adc-a424-4d66-8d88-7a5a1508c7a1" providerId="ADAL" clId="{C0A10B8C-0D7B-47D7-AFA8-F7497EB8A4E2}" dt="2021-12-08T14:40:24.676" v="1532" actId="255"/>
        <pc:sldMkLst>
          <pc:docMk/>
          <pc:sldMk cId="95671315" sldId="257"/>
        </pc:sldMkLst>
        <pc:spChg chg="add mod">
          <ac:chgData name="Joseph Coyle" userId="8d431adc-a424-4d66-8d88-7a5a1508c7a1" providerId="ADAL" clId="{C0A10B8C-0D7B-47D7-AFA8-F7497EB8A4E2}" dt="2021-12-08T13:47:47.105" v="97" actId="1037"/>
          <ac:spMkLst>
            <pc:docMk/>
            <pc:sldMk cId="95671315" sldId="257"/>
            <ac:spMk id="5" creationId="{19C3B27A-67B0-4173-8660-55F3978270C7}"/>
          </ac:spMkLst>
        </pc:spChg>
        <pc:spChg chg="add mod">
          <ac:chgData name="Joseph Coyle" userId="8d431adc-a424-4d66-8d88-7a5a1508c7a1" providerId="ADAL" clId="{C0A10B8C-0D7B-47D7-AFA8-F7497EB8A4E2}" dt="2021-12-08T13:47:40.250" v="94" actId="1037"/>
          <ac:spMkLst>
            <pc:docMk/>
            <pc:sldMk cId="95671315" sldId="257"/>
            <ac:spMk id="6" creationId="{3BB56467-90D4-4A26-B9D3-51D0DFCFB757}"/>
          </ac:spMkLst>
        </pc:spChg>
        <pc:spChg chg="add mod">
          <ac:chgData name="Joseph Coyle" userId="8d431adc-a424-4d66-8d88-7a5a1508c7a1" providerId="ADAL" clId="{C0A10B8C-0D7B-47D7-AFA8-F7497EB8A4E2}" dt="2021-12-08T14:40:24.676" v="1532" actId="255"/>
          <ac:spMkLst>
            <pc:docMk/>
            <pc:sldMk cId="95671315" sldId="257"/>
            <ac:spMk id="7" creationId="{3DBF077B-3203-4F6B-874B-E6D1B88838B0}"/>
          </ac:spMkLst>
        </pc:spChg>
        <pc:picChg chg="del">
          <ac:chgData name="Joseph Coyle" userId="8d431adc-a424-4d66-8d88-7a5a1508c7a1" providerId="ADAL" clId="{C0A10B8C-0D7B-47D7-AFA8-F7497EB8A4E2}" dt="2021-12-08T13:39:49.761" v="27" actId="478"/>
          <ac:picMkLst>
            <pc:docMk/>
            <pc:sldMk cId="95671315" sldId="257"/>
            <ac:picMk id="3" creationId="{34FB97A0-D17D-44FF-B9E2-A08101189A2D}"/>
          </ac:picMkLst>
        </pc:picChg>
        <pc:picChg chg="add mod">
          <ac:chgData name="Joseph Coyle" userId="8d431adc-a424-4d66-8d88-7a5a1508c7a1" providerId="ADAL" clId="{C0A10B8C-0D7B-47D7-AFA8-F7497EB8A4E2}" dt="2021-12-08T13:40:48.519" v="31" actId="1076"/>
          <ac:picMkLst>
            <pc:docMk/>
            <pc:sldMk cId="95671315" sldId="257"/>
            <ac:picMk id="4" creationId="{FFAC3E24-8D49-435F-A09D-9BDB046D79E0}"/>
          </ac:picMkLst>
        </pc:picChg>
      </pc:sldChg>
      <pc:sldChg chg="addSp delSp modSp mod">
        <pc:chgData name="Joseph Coyle" userId="8d431adc-a424-4d66-8d88-7a5a1508c7a1" providerId="ADAL" clId="{C0A10B8C-0D7B-47D7-AFA8-F7497EB8A4E2}" dt="2021-12-08T14:40:55.784" v="1535"/>
        <pc:sldMkLst>
          <pc:docMk/>
          <pc:sldMk cId="2512199118" sldId="258"/>
        </pc:sldMkLst>
        <pc:spChg chg="add mod">
          <ac:chgData name="Joseph Coyle" userId="8d431adc-a424-4d66-8d88-7a5a1508c7a1" providerId="ADAL" clId="{C0A10B8C-0D7B-47D7-AFA8-F7497EB8A4E2}" dt="2021-12-08T13:48:36.658" v="108" actId="14100"/>
          <ac:spMkLst>
            <pc:docMk/>
            <pc:sldMk cId="2512199118" sldId="258"/>
            <ac:spMk id="5" creationId="{7A1D5E8B-6BC1-4575-8339-AD100C65457F}"/>
          </ac:spMkLst>
        </pc:spChg>
        <pc:spChg chg="add mod">
          <ac:chgData name="Joseph Coyle" userId="8d431adc-a424-4d66-8d88-7a5a1508c7a1" providerId="ADAL" clId="{C0A10B8C-0D7B-47D7-AFA8-F7497EB8A4E2}" dt="2021-12-08T13:48:36.658" v="108" actId="14100"/>
          <ac:spMkLst>
            <pc:docMk/>
            <pc:sldMk cId="2512199118" sldId="258"/>
            <ac:spMk id="6" creationId="{9FC45C2D-C791-4FB1-AE77-699556796ED4}"/>
          </ac:spMkLst>
        </pc:spChg>
        <pc:spChg chg="add del mod">
          <ac:chgData name="Joseph Coyle" userId="8d431adc-a424-4d66-8d88-7a5a1508c7a1" providerId="ADAL" clId="{C0A10B8C-0D7B-47D7-AFA8-F7497EB8A4E2}" dt="2021-12-08T14:40:55.784" v="1535"/>
          <ac:spMkLst>
            <pc:docMk/>
            <pc:sldMk cId="2512199118" sldId="258"/>
            <ac:spMk id="7" creationId="{152004AB-D71C-4F4F-B23C-638E85FC7680}"/>
          </ac:spMkLst>
        </pc:spChg>
        <pc:picChg chg="del">
          <ac:chgData name="Joseph Coyle" userId="8d431adc-a424-4d66-8d88-7a5a1508c7a1" providerId="ADAL" clId="{C0A10B8C-0D7B-47D7-AFA8-F7497EB8A4E2}" dt="2021-12-08T13:38:51.986" v="25" actId="478"/>
          <ac:picMkLst>
            <pc:docMk/>
            <pc:sldMk cId="2512199118" sldId="258"/>
            <ac:picMk id="3" creationId="{282B8A7D-A8D0-4728-AD64-192F5FAE0E3E}"/>
          </ac:picMkLst>
        </pc:picChg>
        <pc:picChg chg="add mod">
          <ac:chgData name="Joseph Coyle" userId="8d431adc-a424-4d66-8d88-7a5a1508c7a1" providerId="ADAL" clId="{C0A10B8C-0D7B-47D7-AFA8-F7497EB8A4E2}" dt="2021-12-08T13:48:23.290" v="106" actId="1076"/>
          <ac:picMkLst>
            <pc:docMk/>
            <pc:sldMk cId="2512199118" sldId="258"/>
            <ac:picMk id="4" creationId="{2D540BD9-782F-4B34-82B9-D00ABCF32AD4}"/>
          </ac:picMkLst>
        </pc:picChg>
      </pc:sldChg>
      <pc:sldChg chg="modSp mod">
        <pc:chgData name="Joseph Coyle" userId="8d431adc-a424-4d66-8d88-7a5a1508c7a1" providerId="ADAL" clId="{C0A10B8C-0D7B-47D7-AFA8-F7497EB8A4E2}" dt="2021-12-08T14:38:49.916" v="1377" actId="14100"/>
        <pc:sldMkLst>
          <pc:docMk/>
          <pc:sldMk cId="2356361417" sldId="259"/>
        </pc:sldMkLst>
        <pc:spChg chg="mod">
          <ac:chgData name="Joseph Coyle" userId="8d431adc-a424-4d66-8d88-7a5a1508c7a1" providerId="ADAL" clId="{C0A10B8C-0D7B-47D7-AFA8-F7497EB8A4E2}" dt="2021-12-08T14:38:49.916" v="1377" actId="14100"/>
          <ac:spMkLst>
            <pc:docMk/>
            <pc:sldMk cId="2356361417" sldId="259"/>
            <ac:spMk id="3" creationId="{244E50F7-24B2-4181-A82D-95D49C3DA15C}"/>
          </ac:spMkLst>
        </pc:spChg>
      </pc:sldChg>
      <pc:sldChg chg="addSp modSp new mod">
        <pc:chgData name="Joseph Coyle" userId="8d431adc-a424-4d66-8d88-7a5a1508c7a1" providerId="ADAL" clId="{C0A10B8C-0D7B-47D7-AFA8-F7497EB8A4E2}" dt="2021-12-08T12:47:26.370" v="3" actId="14100"/>
        <pc:sldMkLst>
          <pc:docMk/>
          <pc:sldMk cId="1131293643" sldId="260"/>
        </pc:sldMkLst>
        <pc:picChg chg="add mod">
          <ac:chgData name="Joseph Coyle" userId="8d431adc-a424-4d66-8d88-7a5a1508c7a1" providerId="ADAL" clId="{C0A10B8C-0D7B-47D7-AFA8-F7497EB8A4E2}" dt="2021-12-08T12:47:26.370" v="3" actId="14100"/>
          <ac:picMkLst>
            <pc:docMk/>
            <pc:sldMk cId="1131293643" sldId="260"/>
            <ac:picMk id="3" creationId="{F955FB9E-FA23-4272-BB21-D32169511D6A}"/>
          </ac:picMkLst>
        </pc:picChg>
      </pc:sldChg>
      <pc:sldChg chg="modSp add mod">
        <pc:chgData name="Joseph Coyle" userId="8d431adc-a424-4d66-8d88-7a5a1508c7a1" providerId="ADAL" clId="{C0A10B8C-0D7B-47D7-AFA8-F7497EB8A4E2}" dt="2021-12-08T14:49:11.994" v="2983" actId="1076"/>
        <pc:sldMkLst>
          <pc:docMk/>
          <pc:sldMk cId="2357104419" sldId="322"/>
        </pc:sldMkLst>
        <pc:spChg chg="mod">
          <ac:chgData name="Joseph Coyle" userId="8d431adc-a424-4d66-8d88-7a5a1508c7a1" providerId="ADAL" clId="{C0A10B8C-0D7B-47D7-AFA8-F7497EB8A4E2}" dt="2021-12-08T14:49:11.994" v="2983" actId="1076"/>
          <ac:spMkLst>
            <pc:docMk/>
            <pc:sldMk cId="2357104419" sldId="322"/>
            <ac:spMk id="2" creationId="{3C6186BA-1958-49ED-A324-8A14A745FFE6}"/>
          </ac:spMkLst>
        </pc:spChg>
      </pc:sldChg>
      <pc:sldChg chg="modSp add mod">
        <pc:chgData name="Joseph Coyle" userId="8d431adc-a424-4d66-8d88-7a5a1508c7a1" providerId="ADAL" clId="{C0A10B8C-0D7B-47D7-AFA8-F7497EB8A4E2}" dt="2021-12-08T14:01:55.546" v="234" actId="14100"/>
        <pc:sldMkLst>
          <pc:docMk/>
          <pc:sldMk cId="3386765935" sldId="2145708177"/>
        </pc:sldMkLst>
        <pc:spChg chg="mod">
          <ac:chgData name="Joseph Coyle" userId="8d431adc-a424-4d66-8d88-7a5a1508c7a1" providerId="ADAL" clId="{C0A10B8C-0D7B-47D7-AFA8-F7497EB8A4E2}" dt="2021-12-08T14:01:55.546" v="234" actId="14100"/>
          <ac:spMkLst>
            <pc:docMk/>
            <pc:sldMk cId="3386765935" sldId="2145708177"/>
            <ac:spMk id="3" creationId="{1E1FC867-01AA-4851-ABBD-6E3F68306E07}"/>
          </ac:spMkLst>
        </pc:spChg>
      </pc:sldChg>
      <pc:sldChg chg="add">
        <pc:chgData name="Joseph Coyle" userId="8d431adc-a424-4d66-8d88-7a5a1508c7a1" providerId="ADAL" clId="{C0A10B8C-0D7B-47D7-AFA8-F7497EB8A4E2}" dt="2021-12-08T12:49:56.568" v="5"/>
        <pc:sldMkLst>
          <pc:docMk/>
          <pc:sldMk cId="4238593030" sldId="2145708218"/>
        </pc:sldMkLst>
      </pc:sldChg>
      <pc:sldChg chg="add">
        <pc:chgData name="Joseph Coyle" userId="8d431adc-a424-4d66-8d88-7a5a1508c7a1" providerId="ADAL" clId="{C0A10B8C-0D7B-47D7-AFA8-F7497EB8A4E2}" dt="2021-12-08T13:35:57.443" v="23"/>
        <pc:sldMkLst>
          <pc:docMk/>
          <pc:sldMk cId="1387441089" sldId="2145708288"/>
        </pc:sldMkLst>
      </pc:sldChg>
      <pc:sldChg chg="add">
        <pc:chgData name="Joseph Coyle" userId="8d431adc-a424-4d66-8d88-7a5a1508c7a1" providerId="ADAL" clId="{C0A10B8C-0D7B-47D7-AFA8-F7497EB8A4E2}" dt="2021-12-08T13:36:03.818" v="24"/>
        <pc:sldMkLst>
          <pc:docMk/>
          <pc:sldMk cId="1549123771" sldId="2145708289"/>
        </pc:sldMkLst>
      </pc:sldChg>
      <pc:sldChg chg="add">
        <pc:chgData name="Joseph Coyle" userId="8d431adc-a424-4d66-8d88-7a5a1508c7a1" providerId="ADAL" clId="{C0A10B8C-0D7B-47D7-AFA8-F7497EB8A4E2}" dt="2021-12-08T12:49:29.608" v="4"/>
        <pc:sldMkLst>
          <pc:docMk/>
          <pc:sldMk cId="1722820888" sldId="2145708290"/>
        </pc:sldMkLst>
      </pc:sldChg>
      <pc:sldChg chg="addSp modSp new mod">
        <pc:chgData name="Joseph Coyle" userId="8d431adc-a424-4d66-8d88-7a5a1508c7a1" providerId="ADAL" clId="{C0A10B8C-0D7B-47D7-AFA8-F7497EB8A4E2}" dt="2021-12-08T12:52:09.735" v="18" actId="20577"/>
        <pc:sldMkLst>
          <pc:docMk/>
          <pc:sldMk cId="4024890647" sldId="2145708291"/>
        </pc:sldMkLst>
        <pc:spChg chg="add mod">
          <ac:chgData name="Joseph Coyle" userId="8d431adc-a424-4d66-8d88-7a5a1508c7a1" providerId="ADAL" clId="{C0A10B8C-0D7B-47D7-AFA8-F7497EB8A4E2}" dt="2021-12-08T12:52:09.735" v="18" actId="20577"/>
          <ac:spMkLst>
            <pc:docMk/>
            <pc:sldMk cId="4024890647" sldId="2145708291"/>
            <ac:spMk id="4" creationId="{08F54951-7D3E-43ED-925B-7A42D5EC8304}"/>
          </ac:spMkLst>
        </pc:spChg>
        <pc:graphicFrameChg chg="add mod">
          <ac:chgData name="Joseph Coyle" userId="8d431adc-a424-4d66-8d88-7a5a1508c7a1" providerId="ADAL" clId="{C0A10B8C-0D7B-47D7-AFA8-F7497EB8A4E2}" dt="2021-12-08T12:51:54.825" v="14"/>
          <ac:graphicFrameMkLst>
            <pc:docMk/>
            <pc:sldMk cId="4024890647" sldId="2145708291"/>
            <ac:graphicFrameMk id="2" creationId="{61482793-4B5D-44FB-B320-124B7B4E4439}"/>
          </ac:graphicFrameMkLst>
        </pc:graphicFrameChg>
        <pc:graphicFrameChg chg="add mod">
          <ac:chgData name="Joseph Coyle" userId="8d431adc-a424-4d66-8d88-7a5a1508c7a1" providerId="ADAL" clId="{C0A10B8C-0D7B-47D7-AFA8-F7497EB8A4E2}" dt="2021-12-08T12:51:24.883" v="10" actId="1076"/>
          <ac:graphicFrameMkLst>
            <pc:docMk/>
            <pc:sldMk cId="4024890647" sldId="2145708291"/>
            <ac:graphicFrameMk id="3" creationId="{08473525-3BCA-44E2-AF1D-4E1C1BA65E67}"/>
          </ac:graphicFrameMkLst>
        </pc:graphicFrameChg>
      </pc:sldChg>
      <pc:sldChg chg="new del">
        <pc:chgData name="Joseph Coyle" userId="8d431adc-a424-4d66-8d88-7a5a1508c7a1" providerId="ADAL" clId="{C0A10B8C-0D7B-47D7-AFA8-F7497EB8A4E2}" dt="2021-12-08T14:49:58.566" v="2990" actId="47"/>
        <pc:sldMkLst>
          <pc:docMk/>
          <pc:sldMk cId="2493915021" sldId="2145708292"/>
        </pc:sldMkLst>
      </pc:sldChg>
      <pc:sldChg chg="add ord">
        <pc:chgData name="Joseph Coyle" userId="8d431adc-a424-4d66-8d88-7a5a1508c7a1" providerId="ADAL" clId="{C0A10B8C-0D7B-47D7-AFA8-F7497EB8A4E2}" dt="2021-12-08T13:35:50.556" v="22"/>
        <pc:sldMkLst>
          <pc:docMk/>
          <pc:sldMk cId="2070874121" sldId="2145708293"/>
        </pc:sldMkLst>
      </pc:sldChg>
      <pc:sldChg chg="modSp new mod">
        <pc:chgData name="Joseph Coyle" userId="8d431adc-a424-4d66-8d88-7a5a1508c7a1" providerId="ADAL" clId="{C0A10B8C-0D7B-47D7-AFA8-F7497EB8A4E2}" dt="2021-12-08T13:42:50.688" v="79" actId="20577"/>
        <pc:sldMkLst>
          <pc:docMk/>
          <pc:sldMk cId="809389950" sldId="2145708294"/>
        </pc:sldMkLst>
        <pc:spChg chg="mod">
          <ac:chgData name="Joseph Coyle" userId="8d431adc-a424-4d66-8d88-7a5a1508c7a1" providerId="ADAL" clId="{C0A10B8C-0D7B-47D7-AFA8-F7497EB8A4E2}" dt="2021-12-08T13:42:50.688" v="79" actId="20577"/>
          <ac:spMkLst>
            <pc:docMk/>
            <pc:sldMk cId="809389950" sldId="2145708294"/>
            <ac:spMk id="2" creationId="{7C17775D-9055-4A0D-9596-37DBFAE1A732}"/>
          </ac:spMkLst>
        </pc:spChg>
      </pc:sldChg>
      <pc:sldChg chg="addSp new mod">
        <pc:chgData name="Joseph Coyle" userId="8d431adc-a424-4d66-8d88-7a5a1508c7a1" providerId="ADAL" clId="{C0A10B8C-0D7B-47D7-AFA8-F7497EB8A4E2}" dt="2021-12-08T13:52:15.528" v="110" actId="22"/>
        <pc:sldMkLst>
          <pc:docMk/>
          <pc:sldMk cId="1974450535" sldId="2145708295"/>
        </pc:sldMkLst>
        <pc:picChg chg="add">
          <ac:chgData name="Joseph Coyle" userId="8d431adc-a424-4d66-8d88-7a5a1508c7a1" providerId="ADAL" clId="{C0A10B8C-0D7B-47D7-AFA8-F7497EB8A4E2}" dt="2021-12-08T13:52:15.528" v="110" actId="22"/>
          <ac:picMkLst>
            <pc:docMk/>
            <pc:sldMk cId="1974450535" sldId="2145708295"/>
            <ac:picMk id="3" creationId="{950D337F-B641-4CF2-A197-E87A3BBB28B7}"/>
          </ac:picMkLst>
        </pc:picChg>
      </pc:sldChg>
      <pc:sldChg chg="delSp modSp new mod">
        <pc:chgData name="Joseph Coyle" userId="8d431adc-a424-4d66-8d88-7a5a1508c7a1" providerId="ADAL" clId="{C0A10B8C-0D7B-47D7-AFA8-F7497EB8A4E2}" dt="2021-12-08T13:54:53.085" v="138" actId="478"/>
        <pc:sldMkLst>
          <pc:docMk/>
          <pc:sldMk cId="1321356437" sldId="2145708296"/>
        </pc:sldMkLst>
        <pc:spChg chg="mod">
          <ac:chgData name="Joseph Coyle" userId="8d431adc-a424-4d66-8d88-7a5a1508c7a1" providerId="ADAL" clId="{C0A10B8C-0D7B-47D7-AFA8-F7497EB8A4E2}" dt="2021-12-08T13:54:45.714" v="137" actId="20577"/>
          <ac:spMkLst>
            <pc:docMk/>
            <pc:sldMk cId="1321356437" sldId="2145708296"/>
            <ac:spMk id="2" creationId="{3F403E97-A393-4EF7-AF85-D3787EE48198}"/>
          </ac:spMkLst>
        </pc:spChg>
        <pc:spChg chg="del">
          <ac:chgData name="Joseph Coyle" userId="8d431adc-a424-4d66-8d88-7a5a1508c7a1" providerId="ADAL" clId="{C0A10B8C-0D7B-47D7-AFA8-F7497EB8A4E2}" dt="2021-12-08T13:54:53.085" v="138" actId="478"/>
          <ac:spMkLst>
            <pc:docMk/>
            <pc:sldMk cId="1321356437" sldId="2145708296"/>
            <ac:spMk id="3" creationId="{4262135E-6F42-4D3A-9371-7520A3A5CFF1}"/>
          </ac:spMkLst>
        </pc:spChg>
      </pc:sldChg>
      <pc:sldChg chg="modSp add mod">
        <pc:chgData name="Joseph Coyle" userId="8d431adc-a424-4d66-8d88-7a5a1508c7a1" providerId="ADAL" clId="{C0A10B8C-0D7B-47D7-AFA8-F7497EB8A4E2}" dt="2021-12-08T13:55:27.595" v="174" actId="20577"/>
        <pc:sldMkLst>
          <pc:docMk/>
          <pc:sldMk cId="61009327" sldId="2145708297"/>
        </pc:sldMkLst>
        <pc:spChg chg="mod">
          <ac:chgData name="Joseph Coyle" userId="8d431adc-a424-4d66-8d88-7a5a1508c7a1" providerId="ADAL" clId="{C0A10B8C-0D7B-47D7-AFA8-F7497EB8A4E2}" dt="2021-12-08T13:55:18.587" v="165" actId="20577"/>
          <ac:spMkLst>
            <pc:docMk/>
            <pc:sldMk cId="61009327" sldId="2145708297"/>
            <ac:spMk id="4" creationId="{56D407E7-4BB6-4F57-90E6-BD3C0CEDC707}"/>
          </ac:spMkLst>
        </pc:spChg>
        <pc:spChg chg="mod">
          <ac:chgData name="Joseph Coyle" userId="8d431adc-a424-4d66-8d88-7a5a1508c7a1" providerId="ADAL" clId="{C0A10B8C-0D7B-47D7-AFA8-F7497EB8A4E2}" dt="2021-12-08T13:55:27.595" v="174" actId="20577"/>
          <ac:spMkLst>
            <pc:docMk/>
            <pc:sldMk cId="61009327" sldId="2145708297"/>
            <ac:spMk id="5" creationId="{8582AAEF-5658-481E-BE07-A1986D19E9EA}"/>
          </ac:spMkLst>
        </pc:spChg>
      </pc:sldChg>
      <pc:sldChg chg="addSp modSp new mod">
        <pc:chgData name="Joseph Coyle" userId="8d431adc-a424-4d66-8d88-7a5a1508c7a1" providerId="ADAL" clId="{C0A10B8C-0D7B-47D7-AFA8-F7497EB8A4E2}" dt="2021-12-08T14:24:32.537" v="243" actId="113"/>
        <pc:sldMkLst>
          <pc:docMk/>
          <pc:sldMk cId="2244743361" sldId="2145708298"/>
        </pc:sldMkLst>
        <pc:spChg chg="add mod">
          <ac:chgData name="Joseph Coyle" userId="8d431adc-a424-4d66-8d88-7a5a1508c7a1" providerId="ADAL" clId="{C0A10B8C-0D7B-47D7-AFA8-F7497EB8A4E2}" dt="2021-12-08T14:24:32.537" v="243" actId="113"/>
          <ac:spMkLst>
            <pc:docMk/>
            <pc:sldMk cId="2244743361" sldId="2145708298"/>
            <ac:spMk id="5" creationId="{7D7AAEC5-FAF6-44D2-B08A-CA7F6739E67C}"/>
          </ac:spMkLst>
        </pc:spChg>
        <pc:picChg chg="add mod">
          <ac:chgData name="Joseph Coyle" userId="8d431adc-a424-4d66-8d88-7a5a1508c7a1" providerId="ADAL" clId="{C0A10B8C-0D7B-47D7-AFA8-F7497EB8A4E2}" dt="2021-12-08T14:24:16.808" v="238" actId="1076"/>
          <ac:picMkLst>
            <pc:docMk/>
            <pc:sldMk cId="2244743361" sldId="2145708298"/>
            <ac:picMk id="3" creationId="{8A43F398-7C77-48AC-8E07-76F14CE9B367}"/>
          </ac:picMkLst>
        </pc:picChg>
      </pc:sldChg>
      <pc:sldChg chg="modSp new mod">
        <pc:chgData name="Joseph Coyle" userId="8d431adc-a424-4d66-8d88-7a5a1508c7a1" providerId="ADAL" clId="{C0A10B8C-0D7B-47D7-AFA8-F7497EB8A4E2}" dt="2021-12-08T14:30:05.377" v="757" actId="1076"/>
        <pc:sldMkLst>
          <pc:docMk/>
          <pc:sldMk cId="706519585" sldId="2145708299"/>
        </pc:sldMkLst>
        <pc:spChg chg="mod">
          <ac:chgData name="Joseph Coyle" userId="8d431adc-a424-4d66-8d88-7a5a1508c7a1" providerId="ADAL" clId="{C0A10B8C-0D7B-47D7-AFA8-F7497EB8A4E2}" dt="2021-12-08T14:30:05.377" v="757" actId="1076"/>
          <ac:spMkLst>
            <pc:docMk/>
            <pc:sldMk cId="706519585" sldId="2145708299"/>
            <ac:spMk id="2" creationId="{76F3CED2-BCC8-47F3-8989-3566D945002C}"/>
          </ac:spMkLst>
        </pc:spChg>
        <pc:spChg chg="mod">
          <ac:chgData name="Joseph Coyle" userId="8d431adc-a424-4d66-8d88-7a5a1508c7a1" providerId="ADAL" clId="{C0A10B8C-0D7B-47D7-AFA8-F7497EB8A4E2}" dt="2021-12-08T14:30:01.307" v="756" actId="14100"/>
          <ac:spMkLst>
            <pc:docMk/>
            <pc:sldMk cId="706519585" sldId="2145708299"/>
            <ac:spMk id="3" creationId="{1CA88848-0E84-4F9F-B565-838610AB343D}"/>
          </ac:spMkLst>
        </pc:spChg>
      </pc:sldChg>
      <pc:sldChg chg="modSp new mod">
        <pc:chgData name="Joseph Coyle" userId="8d431adc-a424-4d66-8d88-7a5a1508c7a1" providerId="ADAL" clId="{C0A10B8C-0D7B-47D7-AFA8-F7497EB8A4E2}" dt="2021-12-08T14:50:26.333" v="2994" actId="20577"/>
        <pc:sldMkLst>
          <pc:docMk/>
          <pc:sldMk cId="1190447837" sldId="2145708300"/>
        </pc:sldMkLst>
        <pc:spChg chg="mod">
          <ac:chgData name="Joseph Coyle" userId="8d431adc-a424-4d66-8d88-7a5a1508c7a1" providerId="ADAL" clId="{C0A10B8C-0D7B-47D7-AFA8-F7497EB8A4E2}" dt="2021-12-08T14:41:24.930" v="1581" actId="14100"/>
          <ac:spMkLst>
            <pc:docMk/>
            <pc:sldMk cId="1190447837" sldId="2145708300"/>
            <ac:spMk id="2" creationId="{81239DBA-FE32-46C2-B0D4-2E19F0B80491}"/>
          </ac:spMkLst>
        </pc:spChg>
        <pc:spChg chg="mod">
          <ac:chgData name="Joseph Coyle" userId="8d431adc-a424-4d66-8d88-7a5a1508c7a1" providerId="ADAL" clId="{C0A10B8C-0D7B-47D7-AFA8-F7497EB8A4E2}" dt="2021-12-08T14:50:26.333" v="2994" actId="20577"/>
          <ac:spMkLst>
            <pc:docMk/>
            <pc:sldMk cId="1190447837" sldId="2145708300"/>
            <ac:spMk id="3" creationId="{C6B4DC9D-4E60-4439-8850-3CE2705D4E7E}"/>
          </ac:spMkLst>
        </pc:spChg>
      </pc:sldChg>
      <pc:sldChg chg="addSp delSp modSp new mod">
        <pc:chgData name="Joseph Coyle" userId="8d431adc-a424-4d66-8d88-7a5a1508c7a1" providerId="ADAL" clId="{C0A10B8C-0D7B-47D7-AFA8-F7497EB8A4E2}" dt="2021-12-08T14:50:18.808" v="2992" actId="1076"/>
        <pc:sldMkLst>
          <pc:docMk/>
          <pc:sldMk cId="2854831971" sldId="2145708301"/>
        </pc:sldMkLst>
        <pc:spChg chg="del">
          <ac:chgData name="Joseph Coyle" userId="8d431adc-a424-4d66-8d88-7a5a1508c7a1" providerId="ADAL" clId="{C0A10B8C-0D7B-47D7-AFA8-F7497EB8A4E2}" dt="2021-12-08T14:45:05.999" v="2188" actId="478"/>
          <ac:spMkLst>
            <pc:docMk/>
            <pc:sldMk cId="2854831971" sldId="2145708301"/>
            <ac:spMk id="2" creationId="{63D524AF-0918-424E-B6C2-518FEBCE701A}"/>
          </ac:spMkLst>
        </pc:spChg>
        <pc:spChg chg="mod">
          <ac:chgData name="Joseph Coyle" userId="8d431adc-a424-4d66-8d88-7a5a1508c7a1" providerId="ADAL" clId="{C0A10B8C-0D7B-47D7-AFA8-F7497EB8A4E2}" dt="2021-12-08T14:50:18.808" v="2992" actId="1076"/>
          <ac:spMkLst>
            <pc:docMk/>
            <pc:sldMk cId="2854831971" sldId="2145708301"/>
            <ac:spMk id="3" creationId="{6F73DD04-6BBB-4455-BD01-A5D63D9CD56C}"/>
          </ac:spMkLst>
        </pc:spChg>
        <pc:spChg chg="add mod">
          <ac:chgData name="Joseph Coyle" userId="8d431adc-a424-4d66-8d88-7a5a1508c7a1" providerId="ADAL" clId="{C0A10B8C-0D7B-47D7-AFA8-F7497EB8A4E2}" dt="2021-12-08T14:45:12.835" v="2189" actId="1076"/>
          <ac:spMkLst>
            <pc:docMk/>
            <pc:sldMk cId="2854831971" sldId="2145708301"/>
            <ac:spMk id="4" creationId="{E404FDCD-13AE-4BB2-95D7-710C4D5B17DE}"/>
          </ac:spMkLst>
        </pc:spChg>
      </pc:sldChg>
      <pc:sldChg chg="modSp new mod">
        <pc:chgData name="Joseph Coyle" userId="8d431adc-a424-4d66-8d88-7a5a1508c7a1" providerId="ADAL" clId="{C0A10B8C-0D7B-47D7-AFA8-F7497EB8A4E2}" dt="2021-12-08T14:49:36.967" v="2989" actId="15"/>
        <pc:sldMkLst>
          <pc:docMk/>
          <pc:sldMk cId="234803915" sldId="2145708302"/>
        </pc:sldMkLst>
        <pc:spChg chg="mod">
          <ac:chgData name="Joseph Coyle" userId="8d431adc-a424-4d66-8d88-7a5a1508c7a1" providerId="ADAL" clId="{C0A10B8C-0D7B-47D7-AFA8-F7497EB8A4E2}" dt="2021-12-08T14:47:20.268" v="2564" actId="1076"/>
          <ac:spMkLst>
            <pc:docMk/>
            <pc:sldMk cId="234803915" sldId="2145708302"/>
            <ac:spMk id="2" creationId="{6A2F0FC7-0F23-430D-863F-505AE65B5B49}"/>
          </ac:spMkLst>
        </pc:spChg>
        <pc:spChg chg="mod">
          <ac:chgData name="Joseph Coyle" userId="8d431adc-a424-4d66-8d88-7a5a1508c7a1" providerId="ADAL" clId="{C0A10B8C-0D7B-47D7-AFA8-F7497EB8A4E2}" dt="2021-12-08T14:49:36.967" v="2989" actId="15"/>
          <ac:spMkLst>
            <pc:docMk/>
            <pc:sldMk cId="234803915" sldId="2145708302"/>
            <ac:spMk id="3" creationId="{54E581C7-6F65-4EEC-A1D0-846691C40810}"/>
          </ac:spMkLst>
        </pc:spChg>
      </pc:sldChg>
      <pc:sldChg chg="add">
        <pc:chgData name="Joseph Coyle" userId="8d431adc-a424-4d66-8d88-7a5a1508c7a1" providerId="ADAL" clId="{C0A10B8C-0D7B-47D7-AFA8-F7497EB8A4E2}" dt="2021-12-08T14:50:39.129" v="2995"/>
        <pc:sldMkLst>
          <pc:docMk/>
          <pc:sldMk cId="965579277" sldId="2145708303"/>
        </pc:sldMkLst>
      </pc:sldChg>
    </pc:docChg>
  </pc:docChgLst>
  <pc:docChgLst>
    <pc:chgData name="Coyle, Joseph (DHHS)" userId="8d431adc-a424-4d66-8d88-7a5a1508c7a1" providerId="ADAL" clId="{C0A10B8C-0D7B-47D7-AFA8-F7497EB8A4E2}"/>
    <pc:docChg chg="custSel modSld">
      <pc:chgData name="Coyle, Joseph (DHHS)" userId="8d431adc-a424-4d66-8d88-7a5a1508c7a1" providerId="ADAL" clId="{C0A10B8C-0D7B-47D7-AFA8-F7497EB8A4E2}" dt="2021-12-08T15:05:55.159" v="1" actId="27636"/>
      <pc:docMkLst>
        <pc:docMk/>
      </pc:docMkLst>
      <pc:sldChg chg="modSp mod">
        <pc:chgData name="Coyle, Joseph (DHHS)" userId="8d431adc-a424-4d66-8d88-7a5a1508c7a1" providerId="ADAL" clId="{C0A10B8C-0D7B-47D7-AFA8-F7497EB8A4E2}" dt="2021-12-08T15:05:55.159" v="1" actId="27636"/>
        <pc:sldMkLst>
          <pc:docMk/>
          <pc:sldMk cId="1722820888" sldId="2145708290"/>
        </pc:sldMkLst>
        <pc:spChg chg="mod">
          <ac:chgData name="Coyle, Joseph (DHHS)" userId="8d431adc-a424-4d66-8d88-7a5a1508c7a1" providerId="ADAL" clId="{C0A10B8C-0D7B-47D7-AFA8-F7497EB8A4E2}" dt="2021-12-08T15:05:55.159" v="1" actId="27636"/>
          <ac:spMkLst>
            <pc:docMk/>
            <pc:sldMk cId="1722820888" sldId="2145708290"/>
            <ac:spMk id="8" creationId="{00000000-0000-0000-0000-000000000000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https://stateofmichigan-my.sharepoint.com/personal/orellanar_michigan_gov/Documents/Data%20and%20Modeling/20211207%20Data%20and%20Modeling/Data%20and%20Modeling%2020211203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2.xml"/><Relationship Id="rId1" Type="http://schemas.microsoft.com/office/2011/relationships/chartStyle" Target="style2.xml"/><Relationship Id="rId5" Type="http://schemas.openxmlformats.org/officeDocument/2006/relationships/chartUserShapes" Target="../drawings/drawing1.xml"/><Relationship Id="rId4" Type="http://schemas.openxmlformats.org/officeDocument/2006/relationships/oleObject" Target="../embeddings/oleObject3.bin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3.xml"/><Relationship Id="rId1" Type="http://schemas.microsoft.com/office/2011/relationships/chartStyle" Target="style3.xml"/><Relationship Id="rId5" Type="http://schemas.openxmlformats.org/officeDocument/2006/relationships/chartUserShapes" Target="../drawings/drawing2.xml"/><Relationship Id="rId4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7055144968732235E-2"/>
          <c:y val="6.4159429638962179E-2"/>
          <c:w val="0.97043774872086408"/>
          <c:h val="0.9128318584070795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4.135599468168420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0EA-483D-99B8-FF652F4FA468}"/>
                </c:ext>
              </c:extLst>
            </c:dLbl>
            <c:dLbl>
              <c:idx val="1"/>
              <c:layout>
                <c:manualLayout>
                  <c:x val="0"/>
                  <c:y val="-4.135599468168420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50EA-483D-99B8-FF652F4FA468}"/>
                </c:ext>
              </c:extLst>
            </c:dLbl>
            <c:dLbl>
              <c:idx val="2"/>
              <c:layout>
                <c:manualLayout>
                  <c:x val="-4.1689872763044434E-17"/>
                  <c:y val="-7.444079042703158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50EA-483D-99B8-FF652F4FA468}"/>
                </c:ext>
              </c:extLst>
            </c:dLbl>
            <c:dLbl>
              <c:idx val="3"/>
              <c:layout>
                <c:manualLayout>
                  <c:x val="-2.2740193291643815E-3"/>
                  <c:y val="-0.1116611856405473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10F0-4EA8-BE0C-4B805323DF0E}"/>
                </c:ext>
              </c:extLst>
            </c:dLbl>
            <c:dLbl>
              <c:idx val="4"/>
              <c:layout>
                <c:manualLayout>
                  <c:x val="-2.2740193291642978E-3"/>
                  <c:y val="-0.2026443739402526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10F0-4EA8-BE0C-4B805323DF0E}"/>
                </c:ext>
              </c:extLst>
            </c:dLbl>
            <c:dLbl>
              <c:idx val="5"/>
              <c:layout>
                <c:manualLayout>
                  <c:x val="-2.2740193291642978E-3"/>
                  <c:y val="-0.3267123579853052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10F0-4EA8-BE0C-4B805323DF0E}"/>
                </c:ext>
              </c:extLst>
            </c:dLbl>
            <c:dLbl>
              <c:idx val="6"/>
              <c:layout>
                <c:manualLayout>
                  <c:x val="0"/>
                  <c:y val="-0.38047498825261805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noAutofit/>
                </a:bodyPr>
                <a:lstStyle/>
                <a:p>
                  <a:pPr>
                    <a:defRPr sz="1100"/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5.5395110858442294E-2"/>
                      <c:h val="8.1264529549509468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10F0-4EA8-BE0C-4B805323DF0E}"/>
                </c:ext>
              </c:extLst>
            </c:dLbl>
            <c:dLbl>
              <c:idx val="7"/>
              <c:layout>
                <c:manualLayout>
                  <c:x val="0"/>
                  <c:y val="-0.4838651377757052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10F0-4EA8-BE0C-4B805323DF0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1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val>
            <c:numRef>
              <c:f>Sheet1!$A$1:$H$1</c:f>
              <c:numCache>
                <c:formatCode>General</c:formatCode>
                <c:ptCount val="8"/>
                <c:pt idx="0">
                  <c:v>6</c:v>
                </c:pt>
                <c:pt idx="1">
                  <c:v>13</c:v>
                </c:pt>
                <c:pt idx="2">
                  <c:v>49</c:v>
                </c:pt>
                <c:pt idx="3">
                  <c:v>122</c:v>
                </c:pt>
                <c:pt idx="4">
                  <c:v>218</c:v>
                </c:pt>
                <c:pt idx="5">
                  <c:v>421</c:v>
                </c:pt>
                <c:pt idx="6">
                  <c:v>507</c:v>
                </c:pt>
                <c:pt idx="7">
                  <c:v>7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10F0-4EA8-BE0C-4B805323DF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1847120831"/>
        <c:axId val="1"/>
      </c:barChart>
      <c:catAx>
        <c:axId val="184712083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84712083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403289702700913E-2"/>
          <c:y val="3.2265069430423753E-2"/>
          <c:w val="0.93140064824180524"/>
          <c:h val="0.87294770845951941"/>
        </c:manualLayout>
      </c:layout>
      <c:barChart>
        <c:barDir val="col"/>
        <c:grouping val="clustered"/>
        <c:varyColors val="0"/>
        <c:ser>
          <c:idx val="9"/>
          <c:order val="9"/>
          <c:tx>
            <c:strRef>
              <c:f>'AgeDeaths (2)'!$K$1</c:f>
              <c:strCache>
                <c:ptCount val="1"/>
                <c:pt idx="0">
                  <c:v>Lag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'AgeDeaths (2)'!$A$2:$A$644</c:f>
              <c:numCache>
                <c:formatCode>m/d;@</c:formatCode>
                <c:ptCount val="156"/>
                <c:pt idx="0">
                  <c:v>44378</c:v>
                </c:pt>
                <c:pt idx="1">
                  <c:v>44379</c:v>
                </c:pt>
                <c:pt idx="2">
                  <c:v>44380</c:v>
                </c:pt>
                <c:pt idx="3">
                  <c:v>44381</c:v>
                </c:pt>
                <c:pt idx="4">
                  <c:v>44382</c:v>
                </c:pt>
                <c:pt idx="5">
                  <c:v>44383</c:v>
                </c:pt>
                <c:pt idx="6">
                  <c:v>44384</c:v>
                </c:pt>
                <c:pt idx="7">
                  <c:v>44385</c:v>
                </c:pt>
                <c:pt idx="8">
                  <c:v>44386</c:v>
                </c:pt>
                <c:pt idx="9">
                  <c:v>44387</c:v>
                </c:pt>
                <c:pt idx="10">
                  <c:v>44388</c:v>
                </c:pt>
                <c:pt idx="11">
                  <c:v>44389</c:v>
                </c:pt>
                <c:pt idx="12">
                  <c:v>44390</c:v>
                </c:pt>
                <c:pt idx="13">
                  <c:v>44391</c:v>
                </c:pt>
                <c:pt idx="14">
                  <c:v>44392</c:v>
                </c:pt>
                <c:pt idx="15">
                  <c:v>44393</c:v>
                </c:pt>
                <c:pt idx="16">
                  <c:v>44394</c:v>
                </c:pt>
                <c:pt idx="17">
                  <c:v>44395</c:v>
                </c:pt>
                <c:pt idx="18">
                  <c:v>44396</c:v>
                </c:pt>
                <c:pt idx="19">
                  <c:v>44397</c:v>
                </c:pt>
                <c:pt idx="20">
                  <c:v>44398</c:v>
                </c:pt>
                <c:pt idx="21">
                  <c:v>44399</c:v>
                </c:pt>
                <c:pt idx="22">
                  <c:v>44400</c:v>
                </c:pt>
                <c:pt idx="23">
                  <c:v>44401</c:v>
                </c:pt>
                <c:pt idx="24">
                  <c:v>44402</c:v>
                </c:pt>
                <c:pt idx="25">
                  <c:v>44403</c:v>
                </c:pt>
                <c:pt idx="26">
                  <c:v>44404</c:v>
                </c:pt>
                <c:pt idx="27">
                  <c:v>44405</c:v>
                </c:pt>
                <c:pt idx="28">
                  <c:v>44406</c:v>
                </c:pt>
                <c:pt idx="29">
                  <c:v>44407</c:v>
                </c:pt>
                <c:pt idx="30">
                  <c:v>44408</c:v>
                </c:pt>
                <c:pt idx="31">
                  <c:v>44409</c:v>
                </c:pt>
                <c:pt idx="32">
                  <c:v>44410</c:v>
                </c:pt>
                <c:pt idx="33">
                  <c:v>44411</c:v>
                </c:pt>
                <c:pt idx="34">
                  <c:v>44412</c:v>
                </c:pt>
                <c:pt idx="35">
                  <c:v>44413</c:v>
                </c:pt>
                <c:pt idx="36">
                  <c:v>44414</c:v>
                </c:pt>
                <c:pt idx="37">
                  <c:v>44415</c:v>
                </c:pt>
                <c:pt idx="38">
                  <c:v>44416</c:v>
                </c:pt>
                <c:pt idx="39">
                  <c:v>44417</c:v>
                </c:pt>
                <c:pt idx="40">
                  <c:v>44418</c:v>
                </c:pt>
                <c:pt idx="41">
                  <c:v>44419</c:v>
                </c:pt>
                <c:pt idx="42">
                  <c:v>44420</c:v>
                </c:pt>
                <c:pt idx="43">
                  <c:v>44421</c:v>
                </c:pt>
                <c:pt idx="44">
                  <c:v>44422</c:v>
                </c:pt>
                <c:pt idx="45">
                  <c:v>44423</c:v>
                </c:pt>
                <c:pt idx="46">
                  <c:v>44424</c:v>
                </c:pt>
                <c:pt idx="47">
                  <c:v>44425</c:v>
                </c:pt>
                <c:pt idx="48">
                  <c:v>44426</c:v>
                </c:pt>
                <c:pt idx="49">
                  <c:v>44427</c:v>
                </c:pt>
                <c:pt idx="50">
                  <c:v>44428</c:v>
                </c:pt>
                <c:pt idx="51">
                  <c:v>44429</c:v>
                </c:pt>
                <c:pt idx="52">
                  <c:v>44430</c:v>
                </c:pt>
                <c:pt idx="53">
                  <c:v>44431</c:v>
                </c:pt>
                <c:pt idx="54">
                  <c:v>44432</c:v>
                </c:pt>
                <c:pt idx="55">
                  <c:v>44433</c:v>
                </c:pt>
                <c:pt idx="56">
                  <c:v>44434</c:v>
                </c:pt>
                <c:pt idx="57">
                  <c:v>44435</c:v>
                </c:pt>
                <c:pt idx="58">
                  <c:v>44436</c:v>
                </c:pt>
                <c:pt idx="59">
                  <c:v>44437</c:v>
                </c:pt>
                <c:pt idx="60">
                  <c:v>44438</c:v>
                </c:pt>
                <c:pt idx="61">
                  <c:v>44439</c:v>
                </c:pt>
                <c:pt idx="62">
                  <c:v>44440</c:v>
                </c:pt>
                <c:pt idx="63">
                  <c:v>44441</c:v>
                </c:pt>
                <c:pt idx="64">
                  <c:v>44442</c:v>
                </c:pt>
                <c:pt idx="65">
                  <c:v>44443</c:v>
                </c:pt>
                <c:pt idx="66">
                  <c:v>44444</c:v>
                </c:pt>
                <c:pt idx="67">
                  <c:v>44445</c:v>
                </c:pt>
                <c:pt idx="68">
                  <c:v>44446</c:v>
                </c:pt>
                <c:pt idx="69">
                  <c:v>44447</c:v>
                </c:pt>
                <c:pt idx="70">
                  <c:v>44448</c:v>
                </c:pt>
                <c:pt idx="71">
                  <c:v>44449</c:v>
                </c:pt>
                <c:pt idx="72">
                  <c:v>44450</c:v>
                </c:pt>
                <c:pt idx="73">
                  <c:v>44451</c:v>
                </c:pt>
                <c:pt idx="74">
                  <c:v>44452</c:v>
                </c:pt>
                <c:pt idx="75">
                  <c:v>44453</c:v>
                </c:pt>
                <c:pt idx="76">
                  <c:v>44454</c:v>
                </c:pt>
                <c:pt idx="77">
                  <c:v>44455</c:v>
                </c:pt>
                <c:pt idx="78">
                  <c:v>44456</c:v>
                </c:pt>
                <c:pt idx="79">
                  <c:v>44457</c:v>
                </c:pt>
                <c:pt idx="80">
                  <c:v>44458</c:v>
                </c:pt>
                <c:pt idx="81">
                  <c:v>44459</c:v>
                </c:pt>
                <c:pt idx="82">
                  <c:v>44460</c:v>
                </c:pt>
                <c:pt idx="83">
                  <c:v>44461</c:v>
                </c:pt>
                <c:pt idx="84">
                  <c:v>44462</c:v>
                </c:pt>
                <c:pt idx="85">
                  <c:v>44463</c:v>
                </c:pt>
                <c:pt idx="86">
                  <c:v>44464</c:v>
                </c:pt>
                <c:pt idx="87">
                  <c:v>44465</c:v>
                </c:pt>
                <c:pt idx="88">
                  <c:v>44466</c:v>
                </c:pt>
                <c:pt idx="89">
                  <c:v>44467</c:v>
                </c:pt>
                <c:pt idx="90">
                  <c:v>44468</c:v>
                </c:pt>
                <c:pt idx="91">
                  <c:v>44469</c:v>
                </c:pt>
                <c:pt idx="92">
                  <c:v>44470</c:v>
                </c:pt>
                <c:pt idx="93">
                  <c:v>44471</c:v>
                </c:pt>
                <c:pt idx="94">
                  <c:v>44472</c:v>
                </c:pt>
                <c:pt idx="95">
                  <c:v>44473</c:v>
                </c:pt>
                <c:pt idx="96">
                  <c:v>44474</c:v>
                </c:pt>
                <c:pt idx="97">
                  <c:v>44475</c:v>
                </c:pt>
                <c:pt idx="98">
                  <c:v>44476</c:v>
                </c:pt>
                <c:pt idx="99">
                  <c:v>44477</c:v>
                </c:pt>
                <c:pt idx="100">
                  <c:v>44478</c:v>
                </c:pt>
                <c:pt idx="101">
                  <c:v>44479</c:v>
                </c:pt>
                <c:pt idx="102">
                  <c:v>44480</c:v>
                </c:pt>
                <c:pt idx="103">
                  <c:v>44481</c:v>
                </c:pt>
                <c:pt idx="104">
                  <c:v>44482</c:v>
                </c:pt>
                <c:pt idx="105">
                  <c:v>44483</c:v>
                </c:pt>
                <c:pt idx="106">
                  <c:v>44484</c:v>
                </c:pt>
                <c:pt idx="107">
                  <c:v>44485</c:v>
                </c:pt>
                <c:pt idx="108">
                  <c:v>44486</c:v>
                </c:pt>
                <c:pt idx="109">
                  <c:v>44487</c:v>
                </c:pt>
                <c:pt idx="110">
                  <c:v>44488</c:v>
                </c:pt>
                <c:pt idx="111">
                  <c:v>44489</c:v>
                </c:pt>
                <c:pt idx="112">
                  <c:v>44490</c:v>
                </c:pt>
                <c:pt idx="113">
                  <c:v>44491</c:v>
                </c:pt>
                <c:pt idx="114">
                  <c:v>44492</c:v>
                </c:pt>
                <c:pt idx="115">
                  <c:v>44493</c:v>
                </c:pt>
                <c:pt idx="116">
                  <c:v>44494</c:v>
                </c:pt>
                <c:pt idx="117">
                  <c:v>44495</c:v>
                </c:pt>
                <c:pt idx="118">
                  <c:v>44496</c:v>
                </c:pt>
                <c:pt idx="119">
                  <c:v>44497</c:v>
                </c:pt>
                <c:pt idx="120">
                  <c:v>44498</c:v>
                </c:pt>
                <c:pt idx="121">
                  <c:v>44499</c:v>
                </c:pt>
                <c:pt idx="122">
                  <c:v>44500</c:v>
                </c:pt>
                <c:pt idx="123">
                  <c:v>44501</c:v>
                </c:pt>
                <c:pt idx="124">
                  <c:v>44502</c:v>
                </c:pt>
                <c:pt idx="125">
                  <c:v>44503</c:v>
                </c:pt>
                <c:pt idx="126">
                  <c:v>44504</c:v>
                </c:pt>
                <c:pt idx="127">
                  <c:v>44505</c:v>
                </c:pt>
                <c:pt idx="128">
                  <c:v>44506</c:v>
                </c:pt>
                <c:pt idx="129">
                  <c:v>44507</c:v>
                </c:pt>
                <c:pt idx="130">
                  <c:v>44508</c:v>
                </c:pt>
                <c:pt idx="131">
                  <c:v>44509</c:v>
                </c:pt>
                <c:pt idx="132">
                  <c:v>44510</c:v>
                </c:pt>
                <c:pt idx="133">
                  <c:v>44511</c:v>
                </c:pt>
                <c:pt idx="134">
                  <c:v>44512</c:v>
                </c:pt>
                <c:pt idx="135">
                  <c:v>44513</c:v>
                </c:pt>
                <c:pt idx="136">
                  <c:v>44514</c:v>
                </c:pt>
                <c:pt idx="137">
                  <c:v>44515</c:v>
                </c:pt>
                <c:pt idx="138">
                  <c:v>44516</c:v>
                </c:pt>
                <c:pt idx="139">
                  <c:v>44517</c:v>
                </c:pt>
                <c:pt idx="140">
                  <c:v>44518</c:v>
                </c:pt>
                <c:pt idx="141">
                  <c:v>44519</c:v>
                </c:pt>
                <c:pt idx="142">
                  <c:v>44520</c:v>
                </c:pt>
                <c:pt idx="143">
                  <c:v>44521</c:v>
                </c:pt>
                <c:pt idx="144">
                  <c:v>44522</c:v>
                </c:pt>
                <c:pt idx="145">
                  <c:v>44523</c:v>
                </c:pt>
                <c:pt idx="146">
                  <c:v>44524</c:v>
                </c:pt>
                <c:pt idx="147">
                  <c:v>44525</c:v>
                </c:pt>
                <c:pt idx="148">
                  <c:v>44526</c:v>
                </c:pt>
                <c:pt idx="149">
                  <c:v>44527</c:v>
                </c:pt>
                <c:pt idx="150">
                  <c:v>44528</c:v>
                </c:pt>
                <c:pt idx="151">
                  <c:v>44529</c:v>
                </c:pt>
                <c:pt idx="152">
                  <c:v>44530</c:v>
                </c:pt>
                <c:pt idx="153">
                  <c:v>44531</c:v>
                </c:pt>
                <c:pt idx="154">
                  <c:v>44532</c:v>
                </c:pt>
                <c:pt idx="155">
                  <c:v>44533</c:v>
                </c:pt>
              </c:numCache>
            </c:numRef>
          </c:cat>
          <c:val>
            <c:numRef>
              <c:f>'AgeDeaths (2)'!$K$2:$K$644</c:f>
              <c:numCache>
                <c:formatCode>General</c:formatCode>
                <c:ptCount val="156"/>
                <c:pt idx="149">
                  <c:v>200</c:v>
                </c:pt>
                <c:pt idx="150">
                  <c:v>200</c:v>
                </c:pt>
                <c:pt idx="151">
                  <c:v>200</c:v>
                </c:pt>
                <c:pt idx="152">
                  <c:v>200</c:v>
                </c:pt>
                <c:pt idx="153">
                  <c:v>200</c:v>
                </c:pt>
                <c:pt idx="154">
                  <c:v>200</c:v>
                </c:pt>
                <c:pt idx="155">
                  <c:v>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FDA-43C6-A408-AE988A7E0E4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1065992088"/>
        <c:axId val="1065984872"/>
      </c:barChart>
      <c:lineChart>
        <c:grouping val="standard"/>
        <c:varyColors val="0"/>
        <c:ser>
          <c:idx val="0"/>
          <c:order val="0"/>
          <c:tx>
            <c:strRef>
              <c:f>'AgeDeaths (2)'!$B$1</c:f>
              <c:strCache>
                <c:ptCount val="1"/>
                <c:pt idx="0">
                  <c:v>0-19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'AgeDeaths (2)'!$A$2:$A$644</c:f>
              <c:numCache>
                <c:formatCode>m/d;@</c:formatCode>
                <c:ptCount val="156"/>
                <c:pt idx="0">
                  <c:v>44378</c:v>
                </c:pt>
                <c:pt idx="1">
                  <c:v>44379</c:v>
                </c:pt>
                <c:pt idx="2">
                  <c:v>44380</c:v>
                </c:pt>
                <c:pt idx="3">
                  <c:v>44381</c:v>
                </c:pt>
                <c:pt idx="4">
                  <c:v>44382</c:v>
                </c:pt>
                <c:pt idx="5">
                  <c:v>44383</c:v>
                </c:pt>
                <c:pt idx="6">
                  <c:v>44384</c:v>
                </c:pt>
                <c:pt idx="7">
                  <c:v>44385</c:v>
                </c:pt>
                <c:pt idx="8">
                  <c:v>44386</c:v>
                </c:pt>
                <c:pt idx="9">
                  <c:v>44387</c:v>
                </c:pt>
                <c:pt idx="10">
                  <c:v>44388</c:v>
                </c:pt>
                <c:pt idx="11">
                  <c:v>44389</c:v>
                </c:pt>
                <c:pt idx="12">
                  <c:v>44390</c:v>
                </c:pt>
                <c:pt idx="13">
                  <c:v>44391</c:v>
                </c:pt>
                <c:pt idx="14">
                  <c:v>44392</c:v>
                </c:pt>
                <c:pt idx="15">
                  <c:v>44393</c:v>
                </c:pt>
                <c:pt idx="16">
                  <c:v>44394</c:v>
                </c:pt>
                <c:pt idx="17">
                  <c:v>44395</c:v>
                </c:pt>
                <c:pt idx="18">
                  <c:v>44396</c:v>
                </c:pt>
                <c:pt idx="19">
                  <c:v>44397</c:v>
                </c:pt>
                <c:pt idx="20">
                  <c:v>44398</c:v>
                </c:pt>
                <c:pt idx="21">
                  <c:v>44399</c:v>
                </c:pt>
                <c:pt idx="22">
                  <c:v>44400</c:v>
                </c:pt>
                <c:pt idx="23">
                  <c:v>44401</c:v>
                </c:pt>
                <c:pt idx="24">
                  <c:v>44402</c:v>
                </c:pt>
                <c:pt idx="25">
                  <c:v>44403</c:v>
                </c:pt>
                <c:pt idx="26">
                  <c:v>44404</c:v>
                </c:pt>
                <c:pt idx="27">
                  <c:v>44405</c:v>
                </c:pt>
                <c:pt idx="28">
                  <c:v>44406</c:v>
                </c:pt>
                <c:pt idx="29">
                  <c:v>44407</c:v>
                </c:pt>
                <c:pt idx="30">
                  <c:v>44408</c:v>
                </c:pt>
                <c:pt idx="31">
                  <c:v>44409</c:v>
                </c:pt>
                <c:pt idx="32">
                  <c:v>44410</c:v>
                </c:pt>
                <c:pt idx="33">
                  <c:v>44411</c:v>
                </c:pt>
                <c:pt idx="34">
                  <c:v>44412</c:v>
                </c:pt>
                <c:pt idx="35">
                  <c:v>44413</c:v>
                </c:pt>
                <c:pt idx="36">
                  <c:v>44414</c:v>
                </c:pt>
                <c:pt idx="37">
                  <c:v>44415</c:v>
                </c:pt>
                <c:pt idx="38">
                  <c:v>44416</c:v>
                </c:pt>
                <c:pt idx="39">
                  <c:v>44417</c:v>
                </c:pt>
                <c:pt idx="40">
                  <c:v>44418</c:v>
                </c:pt>
                <c:pt idx="41">
                  <c:v>44419</c:v>
                </c:pt>
                <c:pt idx="42">
                  <c:v>44420</c:v>
                </c:pt>
                <c:pt idx="43">
                  <c:v>44421</c:v>
                </c:pt>
                <c:pt idx="44">
                  <c:v>44422</c:v>
                </c:pt>
                <c:pt idx="45">
                  <c:v>44423</c:v>
                </c:pt>
                <c:pt idx="46">
                  <c:v>44424</c:v>
                </c:pt>
                <c:pt idx="47">
                  <c:v>44425</c:v>
                </c:pt>
                <c:pt idx="48">
                  <c:v>44426</c:v>
                </c:pt>
                <c:pt idx="49">
                  <c:v>44427</c:v>
                </c:pt>
                <c:pt idx="50">
                  <c:v>44428</c:v>
                </c:pt>
                <c:pt idx="51">
                  <c:v>44429</c:v>
                </c:pt>
                <c:pt idx="52">
                  <c:v>44430</c:v>
                </c:pt>
                <c:pt idx="53">
                  <c:v>44431</c:v>
                </c:pt>
                <c:pt idx="54">
                  <c:v>44432</c:v>
                </c:pt>
                <c:pt idx="55">
                  <c:v>44433</c:v>
                </c:pt>
                <c:pt idx="56">
                  <c:v>44434</c:v>
                </c:pt>
                <c:pt idx="57">
                  <c:v>44435</c:v>
                </c:pt>
                <c:pt idx="58">
                  <c:v>44436</c:v>
                </c:pt>
                <c:pt idx="59">
                  <c:v>44437</c:v>
                </c:pt>
                <c:pt idx="60">
                  <c:v>44438</c:v>
                </c:pt>
                <c:pt idx="61">
                  <c:v>44439</c:v>
                </c:pt>
                <c:pt idx="62">
                  <c:v>44440</c:v>
                </c:pt>
                <c:pt idx="63">
                  <c:v>44441</c:v>
                </c:pt>
                <c:pt idx="64">
                  <c:v>44442</c:v>
                </c:pt>
                <c:pt idx="65">
                  <c:v>44443</c:v>
                </c:pt>
                <c:pt idx="66">
                  <c:v>44444</c:v>
                </c:pt>
                <c:pt idx="67">
                  <c:v>44445</c:v>
                </c:pt>
                <c:pt idx="68">
                  <c:v>44446</c:v>
                </c:pt>
                <c:pt idx="69">
                  <c:v>44447</c:v>
                </c:pt>
                <c:pt idx="70">
                  <c:v>44448</c:v>
                </c:pt>
                <c:pt idx="71">
                  <c:v>44449</c:v>
                </c:pt>
                <c:pt idx="72">
                  <c:v>44450</c:v>
                </c:pt>
                <c:pt idx="73">
                  <c:v>44451</c:v>
                </c:pt>
                <c:pt idx="74">
                  <c:v>44452</c:v>
                </c:pt>
                <c:pt idx="75">
                  <c:v>44453</c:v>
                </c:pt>
                <c:pt idx="76">
                  <c:v>44454</c:v>
                </c:pt>
                <c:pt idx="77">
                  <c:v>44455</c:v>
                </c:pt>
                <c:pt idx="78">
                  <c:v>44456</c:v>
                </c:pt>
                <c:pt idx="79">
                  <c:v>44457</c:v>
                </c:pt>
                <c:pt idx="80">
                  <c:v>44458</c:v>
                </c:pt>
                <c:pt idx="81">
                  <c:v>44459</c:v>
                </c:pt>
                <c:pt idx="82">
                  <c:v>44460</c:v>
                </c:pt>
                <c:pt idx="83">
                  <c:v>44461</c:v>
                </c:pt>
                <c:pt idx="84">
                  <c:v>44462</c:v>
                </c:pt>
                <c:pt idx="85">
                  <c:v>44463</c:v>
                </c:pt>
                <c:pt idx="86">
                  <c:v>44464</c:v>
                </c:pt>
                <c:pt idx="87">
                  <c:v>44465</c:v>
                </c:pt>
                <c:pt idx="88">
                  <c:v>44466</c:v>
                </c:pt>
                <c:pt idx="89">
                  <c:v>44467</c:v>
                </c:pt>
                <c:pt idx="90">
                  <c:v>44468</c:v>
                </c:pt>
                <c:pt idx="91">
                  <c:v>44469</c:v>
                </c:pt>
                <c:pt idx="92">
                  <c:v>44470</c:v>
                </c:pt>
                <c:pt idx="93">
                  <c:v>44471</c:v>
                </c:pt>
                <c:pt idx="94">
                  <c:v>44472</c:v>
                </c:pt>
                <c:pt idx="95">
                  <c:v>44473</c:v>
                </c:pt>
                <c:pt idx="96">
                  <c:v>44474</c:v>
                </c:pt>
                <c:pt idx="97">
                  <c:v>44475</c:v>
                </c:pt>
                <c:pt idx="98">
                  <c:v>44476</c:v>
                </c:pt>
                <c:pt idx="99">
                  <c:v>44477</c:v>
                </c:pt>
                <c:pt idx="100">
                  <c:v>44478</c:v>
                </c:pt>
                <c:pt idx="101">
                  <c:v>44479</c:v>
                </c:pt>
                <c:pt idx="102">
                  <c:v>44480</c:v>
                </c:pt>
                <c:pt idx="103">
                  <c:v>44481</c:v>
                </c:pt>
                <c:pt idx="104">
                  <c:v>44482</c:v>
                </c:pt>
                <c:pt idx="105">
                  <c:v>44483</c:v>
                </c:pt>
                <c:pt idx="106">
                  <c:v>44484</c:v>
                </c:pt>
                <c:pt idx="107">
                  <c:v>44485</c:v>
                </c:pt>
                <c:pt idx="108">
                  <c:v>44486</c:v>
                </c:pt>
                <c:pt idx="109">
                  <c:v>44487</c:v>
                </c:pt>
                <c:pt idx="110">
                  <c:v>44488</c:v>
                </c:pt>
                <c:pt idx="111">
                  <c:v>44489</c:v>
                </c:pt>
                <c:pt idx="112">
                  <c:v>44490</c:v>
                </c:pt>
                <c:pt idx="113">
                  <c:v>44491</c:v>
                </c:pt>
                <c:pt idx="114">
                  <c:v>44492</c:v>
                </c:pt>
                <c:pt idx="115">
                  <c:v>44493</c:v>
                </c:pt>
                <c:pt idx="116">
                  <c:v>44494</c:v>
                </c:pt>
                <c:pt idx="117">
                  <c:v>44495</c:v>
                </c:pt>
                <c:pt idx="118">
                  <c:v>44496</c:v>
                </c:pt>
                <c:pt idx="119">
                  <c:v>44497</c:v>
                </c:pt>
                <c:pt idx="120">
                  <c:v>44498</c:v>
                </c:pt>
                <c:pt idx="121">
                  <c:v>44499</c:v>
                </c:pt>
                <c:pt idx="122">
                  <c:v>44500</c:v>
                </c:pt>
                <c:pt idx="123">
                  <c:v>44501</c:v>
                </c:pt>
                <c:pt idx="124">
                  <c:v>44502</c:v>
                </c:pt>
                <c:pt idx="125">
                  <c:v>44503</c:v>
                </c:pt>
                <c:pt idx="126">
                  <c:v>44504</c:v>
                </c:pt>
                <c:pt idx="127">
                  <c:v>44505</c:v>
                </c:pt>
                <c:pt idx="128">
                  <c:v>44506</c:v>
                </c:pt>
                <c:pt idx="129">
                  <c:v>44507</c:v>
                </c:pt>
                <c:pt idx="130">
                  <c:v>44508</c:v>
                </c:pt>
                <c:pt idx="131">
                  <c:v>44509</c:v>
                </c:pt>
                <c:pt idx="132">
                  <c:v>44510</c:v>
                </c:pt>
                <c:pt idx="133">
                  <c:v>44511</c:v>
                </c:pt>
                <c:pt idx="134">
                  <c:v>44512</c:v>
                </c:pt>
                <c:pt idx="135">
                  <c:v>44513</c:v>
                </c:pt>
                <c:pt idx="136">
                  <c:v>44514</c:v>
                </c:pt>
                <c:pt idx="137">
                  <c:v>44515</c:v>
                </c:pt>
                <c:pt idx="138">
                  <c:v>44516</c:v>
                </c:pt>
                <c:pt idx="139">
                  <c:v>44517</c:v>
                </c:pt>
                <c:pt idx="140">
                  <c:v>44518</c:v>
                </c:pt>
                <c:pt idx="141">
                  <c:v>44519</c:v>
                </c:pt>
                <c:pt idx="142">
                  <c:v>44520</c:v>
                </c:pt>
                <c:pt idx="143">
                  <c:v>44521</c:v>
                </c:pt>
                <c:pt idx="144">
                  <c:v>44522</c:v>
                </c:pt>
                <c:pt idx="145">
                  <c:v>44523</c:v>
                </c:pt>
                <c:pt idx="146">
                  <c:v>44524</c:v>
                </c:pt>
                <c:pt idx="147">
                  <c:v>44525</c:v>
                </c:pt>
                <c:pt idx="148">
                  <c:v>44526</c:v>
                </c:pt>
                <c:pt idx="149">
                  <c:v>44527</c:v>
                </c:pt>
                <c:pt idx="150">
                  <c:v>44528</c:v>
                </c:pt>
                <c:pt idx="151">
                  <c:v>44529</c:v>
                </c:pt>
                <c:pt idx="152">
                  <c:v>44530</c:v>
                </c:pt>
                <c:pt idx="153">
                  <c:v>44531</c:v>
                </c:pt>
                <c:pt idx="154">
                  <c:v>44532</c:v>
                </c:pt>
                <c:pt idx="155">
                  <c:v>44533</c:v>
                </c:pt>
              </c:numCache>
            </c:numRef>
          </c:cat>
          <c:val>
            <c:numRef>
              <c:f>'AgeDeaths (2)'!$B$2:$B$644</c:f>
              <c:numCache>
                <c:formatCode>General</c:formatCode>
                <c:ptCount val="15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5.8688066996419264E-2</c:v>
                </c:pt>
                <c:pt idx="55">
                  <c:v>5.8688066996419264E-2</c:v>
                </c:pt>
                <c:pt idx="56">
                  <c:v>5.8688066996419264E-2</c:v>
                </c:pt>
                <c:pt idx="57">
                  <c:v>5.8688066996419264E-2</c:v>
                </c:pt>
                <c:pt idx="58">
                  <c:v>5.8688066996419264E-2</c:v>
                </c:pt>
                <c:pt idx="59">
                  <c:v>5.8688066996419264E-2</c:v>
                </c:pt>
                <c:pt idx="60">
                  <c:v>5.8688066996419264E-2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5.8688066996419264E-2</c:v>
                </c:pt>
                <c:pt idx="70">
                  <c:v>5.8688066996419264E-2</c:v>
                </c:pt>
                <c:pt idx="71">
                  <c:v>5.8688066996419264E-2</c:v>
                </c:pt>
                <c:pt idx="72">
                  <c:v>0.11737613399283853</c:v>
                </c:pt>
                <c:pt idx="73">
                  <c:v>0.11737613399283853</c:v>
                </c:pt>
                <c:pt idx="74">
                  <c:v>0.11737613399283853</c:v>
                </c:pt>
                <c:pt idx="75">
                  <c:v>0.17606420098925776</c:v>
                </c:pt>
                <c:pt idx="76">
                  <c:v>0.11737613399283853</c:v>
                </c:pt>
                <c:pt idx="77">
                  <c:v>0.11737613399283853</c:v>
                </c:pt>
                <c:pt idx="78">
                  <c:v>0.11737613399283853</c:v>
                </c:pt>
                <c:pt idx="79">
                  <c:v>5.8688066996419264E-2</c:v>
                </c:pt>
                <c:pt idx="80">
                  <c:v>5.8688066996419264E-2</c:v>
                </c:pt>
                <c:pt idx="81">
                  <c:v>5.8688066996419264E-2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.11737613399283853</c:v>
                </c:pt>
                <c:pt idx="86">
                  <c:v>0.11737613399283853</c:v>
                </c:pt>
                <c:pt idx="87">
                  <c:v>0.11737613399283853</c:v>
                </c:pt>
                <c:pt idx="88">
                  <c:v>0.11737613399283853</c:v>
                </c:pt>
                <c:pt idx="89">
                  <c:v>0.11737613399283853</c:v>
                </c:pt>
                <c:pt idx="90">
                  <c:v>0.11737613399283853</c:v>
                </c:pt>
                <c:pt idx="91">
                  <c:v>0.17606420098925776</c:v>
                </c:pt>
                <c:pt idx="92">
                  <c:v>5.8688066996419264E-2</c:v>
                </c:pt>
                <c:pt idx="93">
                  <c:v>5.8688066996419264E-2</c:v>
                </c:pt>
                <c:pt idx="94">
                  <c:v>5.8688066996419264E-2</c:v>
                </c:pt>
                <c:pt idx="95">
                  <c:v>5.8688066996419264E-2</c:v>
                </c:pt>
                <c:pt idx="96">
                  <c:v>5.8688066996419264E-2</c:v>
                </c:pt>
                <c:pt idx="97">
                  <c:v>5.8688066996419264E-2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  <c:pt idx="102">
                  <c:v>0</c:v>
                </c:pt>
                <c:pt idx="103">
                  <c:v>0</c:v>
                </c:pt>
                <c:pt idx="104">
                  <c:v>0</c:v>
                </c:pt>
                <c:pt idx="105">
                  <c:v>0</c:v>
                </c:pt>
                <c:pt idx="106">
                  <c:v>0</c:v>
                </c:pt>
                <c:pt idx="107">
                  <c:v>0</c:v>
                </c:pt>
                <c:pt idx="108">
                  <c:v>5.8688066996419264E-2</c:v>
                </c:pt>
                <c:pt idx="109">
                  <c:v>5.8688066996419264E-2</c:v>
                </c:pt>
                <c:pt idx="110">
                  <c:v>5.8688066996419264E-2</c:v>
                </c:pt>
                <c:pt idx="111">
                  <c:v>5.8688066996419264E-2</c:v>
                </c:pt>
                <c:pt idx="112">
                  <c:v>5.8688066996419264E-2</c:v>
                </c:pt>
                <c:pt idx="113">
                  <c:v>5.8688066996419264E-2</c:v>
                </c:pt>
                <c:pt idx="114">
                  <c:v>5.8688066996419264E-2</c:v>
                </c:pt>
                <c:pt idx="115">
                  <c:v>0</c:v>
                </c:pt>
                <c:pt idx="116">
                  <c:v>0</c:v>
                </c:pt>
                <c:pt idx="117">
                  <c:v>0</c:v>
                </c:pt>
                <c:pt idx="118">
                  <c:v>0</c:v>
                </c:pt>
                <c:pt idx="119">
                  <c:v>0</c:v>
                </c:pt>
                <c:pt idx="120">
                  <c:v>0</c:v>
                </c:pt>
                <c:pt idx="121">
                  <c:v>0</c:v>
                </c:pt>
                <c:pt idx="122">
                  <c:v>0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0</c:v>
                </c:pt>
                <c:pt idx="128">
                  <c:v>0</c:v>
                </c:pt>
                <c:pt idx="129">
                  <c:v>0</c:v>
                </c:pt>
                <c:pt idx="130">
                  <c:v>5.8688066996419264E-2</c:v>
                </c:pt>
                <c:pt idx="131">
                  <c:v>5.8688066996419264E-2</c:v>
                </c:pt>
                <c:pt idx="132">
                  <c:v>5.8688066996419264E-2</c:v>
                </c:pt>
                <c:pt idx="133">
                  <c:v>0.11737613399283853</c:v>
                </c:pt>
                <c:pt idx="134">
                  <c:v>0.11737613399283853</c:v>
                </c:pt>
                <c:pt idx="135">
                  <c:v>0.17606420098925776</c:v>
                </c:pt>
                <c:pt idx="136">
                  <c:v>0.17606420098925776</c:v>
                </c:pt>
                <c:pt idx="137">
                  <c:v>0.11737613399283853</c:v>
                </c:pt>
                <c:pt idx="138">
                  <c:v>0.11737613399283853</c:v>
                </c:pt>
                <c:pt idx="139">
                  <c:v>0.11737613399283853</c:v>
                </c:pt>
                <c:pt idx="140">
                  <c:v>0.11737613399283853</c:v>
                </c:pt>
                <c:pt idx="141">
                  <c:v>0.11737613399283853</c:v>
                </c:pt>
                <c:pt idx="142">
                  <c:v>0.11737613399283853</c:v>
                </c:pt>
                <c:pt idx="143">
                  <c:v>0.11737613399283853</c:v>
                </c:pt>
                <c:pt idx="144">
                  <c:v>0.11737613399283853</c:v>
                </c:pt>
                <c:pt idx="145">
                  <c:v>0.11737613399283853</c:v>
                </c:pt>
                <c:pt idx="146">
                  <c:v>0.11737613399283853</c:v>
                </c:pt>
                <c:pt idx="147">
                  <c:v>5.8688066996419264E-2</c:v>
                </c:pt>
                <c:pt idx="148">
                  <c:v>5.8688066996419264E-2</c:v>
                </c:pt>
                <c:pt idx="149">
                  <c:v>0</c:v>
                </c:pt>
                <c:pt idx="150">
                  <c:v>0</c:v>
                </c:pt>
                <c:pt idx="151">
                  <c:v>5.8688066996419264E-2</c:v>
                </c:pt>
                <c:pt idx="152">
                  <c:v>5.8688066996419264E-2</c:v>
                </c:pt>
                <c:pt idx="153">
                  <c:v>5.8688066996419264E-2</c:v>
                </c:pt>
                <c:pt idx="154">
                  <c:v>5.8688066996419264E-2</c:v>
                </c:pt>
                <c:pt idx="155">
                  <c:v>5.8688066996419264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FDA-43C6-A408-AE988A7E0E40}"/>
            </c:ext>
          </c:extLst>
        </c:ser>
        <c:ser>
          <c:idx val="1"/>
          <c:order val="1"/>
          <c:tx>
            <c:strRef>
              <c:f>'AgeDeaths (2)'!$C$1</c:f>
              <c:strCache>
                <c:ptCount val="1"/>
                <c:pt idx="0">
                  <c:v>20-29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'AgeDeaths (2)'!$A$2:$A$644</c:f>
              <c:numCache>
                <c:formatCode>m/d;@</c:formatCode>
                <c:ptCount val="156"/>
                <c:pt idx="0">
                  <c:v>44378</c:v>
                </c:pt>
                <c:pt idx="1">
                  <c:v>44379</c:v>
                </c:pt>
                <c:pt idx="2">
                  <c:v>44380</c:v>
                </c:pt>
                <c:pt idx="3">
                  <c:v>44381</c:v>
                </c:pt>
                <c:pt idx="4">
                  <c:v>44382</c:v>
                </c:pt>
                <c:pt idx="5">
                  <c:v>44383</c:v>
                </c:pt>
                <c:pt idx="6">
                  <c:v>44384</c:v>
                </c:pt>
                <c:pt idx="7">
                  <c:v>44385</c:v>
                </c:pt>
                <c:pt idx="8">
                  <c:v>44386</c:v>
                </c:pt>
                <c:pt idx="9">
                  <c:v>44387</c:v>
                </c:pt>
                <c:pt idx="10">
                  <c:v>44388</c:v>
                </c:pt>
                <c:pt idx="11">
                  <c:v>44389</c:v>
                </c:pt>
                <c:pt idx="12">
                  <c:v>44390</c:v>
                </c:pt>
                <c:pt idx="13">
                  <c:v>44391</c:v>
                </c:pt>
                <c:pt idx="14">
                  <c:v>44392</c:v>
                </c:pt>
                <c:pt idx="15">
                  <c:v>44393</c:v>
                </c:pt>
                <c:pt idx="16">
                  <c:v>44394</c:v>
                </c:pt>
                <c:pt idx="17">
                  <c:v>44395</c:v>
                </c:pt>
                <c:pt idx="18">
                  <c:v>44396</c:v>
                </c:pt>
                <c:pt idx="19">
                  <c:v>44397</c:v>
                </c:pt>
                <c:pt idx="20">
                  <c:v>44398</c:v>
                </c:pt>
                <c:pt idx="21">
                  <c:v>44399</c:v>
                </c:pt>
                <c:pt idx="22">
                  <c:v>44400</c:v>
                </c:pt>
                <c:pt idx="23">
                  <c:v>44401</c:v>
                </c:pt>
                <c:pt idx="24">
                  <c:v>44402</c:v>
                </c:pt>
                <c:pt idx="25">
                  <c:v>44403</c:v>
                </c:pt>
                <c:pt idx="26">
                  <c:v>44404</c:v>
                </c:pt>
                <c:pt idx="27">
                  <c:v>44405</c:v>
                </c:pt>
                <c:pt idx="28">
                  <c:v>44406</c:v>
                </c:pt>
                <c:pt idx="29">
                  <c:v>44407</c:v>
                </c:pt>
                <c:pt idx="30">
                  <c:v>44408</c:v>
                </c:pt>
                <c:pt idx="31">
                  <c:v>44409</c:v>
                </c:pt>
                <c:pt idx="32">
                  <c:v>44410</c:v>
                </c:pt>
                <c:pt idx="33">
                  <c:v>44411</c:v>
                </c:pt>
                <c:pt idx="34">
                  <c:v>44412</c:v>
                </c:pt>
                <c:pt idx="35">
                  <c:v>44413</c:v>
                </c:pt>
                <c:pt idx="36">
                  <c:v>44414</c:v>
                </c:pt>
                <c:pt idx="37">
                  <c:v>44415</c:v>
                </c:pt>
                <c:pt idx="38">
                  <c:v>44416</c:v>
                </c:pt>
                <c:pt idx="39">
                  <c:v>44417</c:v>
                </c:pt>
                <c:pt idx="40">
                  <c:v>44418</c:v>
                </c:pt>
                <c:pt idx="41">
                  <c:v>44419</c:v>
                </c:pt>
                <c:pt idx="42">
                  <c:v>44420</c:v>
                </c:pt>
                <c:pt idx="43">
                  <c:v>44421</c:v>
                </c:pt>
                <c:pt idx="44">
                  <c:v>44422</c:v>
                </c:pt>
                <c:pt idx="45">
                  <c:v>44423</c:v>
                </c:pt>
                <c:pt idx="46">
                  <c:v>44424</c:v>
                </c:pt>
                <c:pt idx="47">
                  <c:v>44425</c:v>
                </c:pt>
                <c:pt idx="48">
                  <c:v>44426</c:v>
                </c:pt>
                <c:pt idx="49">
                  <c:v>44427</c:v>
                </c:pt>
                <c:pt idx="50">
                  <c:v>44428</c:v>
                </c:pt>
                <c:pt idx="51">
                  <c:v>44429</c:v>
                </c:pt>
                <c:pt idx="52">
                  <c:v>44430</c:v>
                </c:pt>
                <c:pt idx="53">
                  <c:v>44431</c:v>
                </c:pt>
                <c:pt idx="54">
                  <c:v>44432</c:v>
                </c:pt>
                <c:pt idx="55">
                  <c:v>44433</c:v>
                </c:pt>
                <c:pt idx="56">
                  <c:v>44434</c:v>
                </c:pt>
                <c:pt idx="57">
                  <c:v>44435</c:v>
                </c:pt>
                <c:pt idx="58">
                  <c:v>44436</c:v>
                </c:pt>
                <c:pt idx="59">
                  <c:v>44437</c:v>
                </c:pt>
                <c:pt idx="60">
                  <c:v>44438</c:v>
                </c:pt>
                <c:pt idx="61">
                  <c:v>44439</c:v>
                </c:pt>
                <c:pt idx="62">
                  <c:v>44440</c:v>
                </c:pt>
                <c:pt idx="63">
                  <c:v>44441</c:v>
                </c:pt>
                <c:pt idx="64">
                  <c:v>44442</c:v>
                </c:pt>
                <c:pt idx="65">
                  <c:v>44443</c:v>
                </c:pt>
                <c:pt idx="66">
                  <c:v>44444</c:v>
                </c:pt>
                <c:pt idx="67">
                  <c:v>44445</c:v>
                </c:pt>
                <c:pt idx="68">
                  <c:v>44446</c:v>
                </c:pt>
                <c:pt idx="69">
                  <c:v>44447</c:v>
                </c:pt>
                <c:pt idx="70">
                  <c:v>44448</c:v>
                </c:pt>
                <c:pt idx="71">
                  <c:v>44449</c:v>
                </c:pt>
                <c:pt idx="72">
                  <c:v>44450</c:v>
                </c:pt>
                <c:pt idx="73">
                  <c:v>44451</c:v>
                </c:pt>
                <c:pt idx="74">
                  <c:v>44452</c:v>
                </c:pt>
                <c:pt idx="75">
                  <c:v>44453</c:v>
                </c:pt>
                <c:pt idx="76">
                  <c:v>44454</c:v>
                </c:pt>
                <c:pt idx="77">
                  <c:v>44455</c:v>
                </c:pt>
                <c:pt idx="78">
                  <c:v>44456</c:v>
                </c:pt>
                <c:pt idx="79">
                  <c:v>44457</c:v>
                </c:pt>
                <c:pt idx="80">
                  <c:v>44458</c:v>
                </c:pt>
                <c:pt idx="81">
                  <c:v>44459</c:v>
                </c:pt>
                <c:pt idx="82">
                  <c:v>44460</c:v>
                </c:pt>
                <c:pt idx="83">
                  <c:v>44461</c:v>
                </c:pt>
                <c:pt idx="84">
                  <c:v>44462</c:v>
                </c:pt>
                <c:pt idx="85">
                  <c:v>44463</c:v>
                </c:pt>
                <c:pt idx="86">
                  <c:v>44464</c:v>
                </c:pt>
                <c:pt idx="87">
                  <c:v>44465</c:v>
                </c:pt>
                <c:pt idx="88">
                  <c:v>44466</c:v>
                </c:pt>
                <c:pt idx="89">
                  <c:v>44467</c:v>
                </c:pt>
                <c:pt idx="90">
                  <c:v>44468</c:v>
                </c:pt>
                <c:pt idx="91">
                  <c:v>44469</c:v>
                </c:pt>
                <c:pt idx="92">
                  <c:v>44470</c:v>
                </c:pt>
                <c:pt idx="93">
                  <c:v>44471</c:v>
                </c:pt>
                <c:pt idx="94">
                  <c:v>44472</c:v>
                </c:pt>
                <c:pt idx="95">
                  <c:v>44473</c:v>
                </c:pt>
                <c:pt idx="96">
                  <c:v>44474</c:v>
                </c:pt>
                <c:pt idx="97">
                  <c:v>44475</c:v>
                </c:pt>
                <c:pt idx="98">
                  <c:v>44476</c:v>
                </c:pt>
                <c:pt idx="99">
                  <c:v>44477</c:v>
                </c:pt>
                <c:pt idx="100">
                  <c:v>44478</c:v>
                </c:pt>
                <c:pt idx="101">
                  <c:v>44479</c:v>
                </c:pt>
                <c:pt idx="102">
                  <c:v>44480</c:v>
                </c:pt>
                <c:pt idx="103">
                  <c:v>44481</c:v>
                </c:pt>
                <c:pt idx="104">
                  <c:v>44482</c:v>
                </c:pt>
                <c:pt idx="105">
                  <c:v>44483</c:v>
                </c:pt>
                <c:pt idx="106">
                  <c:v>44484</c:v>
                </c:pt>
                <c:pt idx="107">
                  <c:v>44485</c:v>
                </c:pt>
                <c:pt idx="108">
                  <c:v>44486</c:v>
                </c:pt>
                <c:pt idx="109">
                  <c:v>44487</c:v>
                </c:pt>
                <c:pt idx="110">
                  <c:v>44488</c:v>
                </c:pt>
                <c:pt idx="111">
                  <c:v>44489</c:v>
                </c:pt>
                <c:pt idx="112">
                  <c:v>44490</c:v>
                </c:pt>
                <c:pt idx="113">
                  <c:v>44491</c:v>
                </c:pt>
                <c:pt idx="114">
                  <c:v>44492</c:v>
                </c:pt>
                <c:pt idx="115">
                  <c:v>44493</c:v>
                </c:pt>
                <c:pt idx="116">
                  <c:v>44494</c:v>
                </c:pt>
                <c:pt idx="117">
                  <c:v>44495</c:v>
                </c:pt>
                <c:pt idx="118">
                  <c:v>44496</c:v>
                </c:pt>
                <c:pt idx="119">
                  <c:v>44497</c:v>
                </c:pt>
                <c:pt idx="120">
                  <c:v>44498</c:v>
                </c:pt>
                <c:pt idx="121">
                  <c:v>44499</c:v>
                </c:pt>
                <c:pt idx="122">
                  <c:v>44500</c:v>
                </c:pt>
                <c:pt idx="123">
                  <c:v>44501</c:v>
                </c:pt>
                <c:pt idx="124">
                  <c:v>44502</c:v>
                </c:pt>
                <c:pt idx="125">
                  <c:v>44503</c:v>
                </c:pt>
                <c:pt idx="126">
                  <c:v>44504</c:v>
                </c:pt>
                <c:pt idx="127">
                  <c:v>44505</c:v>
                </c:pt>
                <c:pt idx="128">
                  <c:v>44506</c:v>
                </c:pt>
                <c:pt idx="129">
                  <c:v>44507</c:v>
                </c:pt>
                <c:pt idx="130">
                  <c:v>44508</c:v>
                </c:pt>
                <c:pt idx="131">
                  <c:v>44509</c:v>
                </c:pt>
                <c:pt idx="132">
                  <c:v>44510</c:v>
                </c:pt>
                <c:pt idx="133">
                  <c:v>44511</c:v>
                </c:pt>
                <c:pt idx="134">
                  <c:v>44512</c:v>
                </c:pt>
                <c:pt idx="135">
                  <c:v>44513</c:v>
                </c:pt>
                <c:pt idx="136">
                  <c:v>44514</c:v>
                </c:pt>
                <c:pt idx="137">
                  <c:v>44515</c:v>
                </c:pt>
                <c:pt idx="138">
                  <c:v>44516</c:v>
                </c:pt>
                <c:pt idx="139">
                  <c:v>44517</c:v>
                </c:pt>
                <c:pt idx="140">
                  <c:v>44518</c:v>
                </c:pt>
                <c:pt idx="141">
                  <c:v>44519</c:v>
                </c:pt>
                <c:pt idx="142">
                  <c:v>44520</c:v>
                </c:pt>
                <c:pt idx="143">
                  <c:v>44521</c:v>
                </c:pt>
                <c:pt idx="144">
                  <c:v>44522</c:v>
                </c:pt>
                <c:pt idx="145">
                  <c:v>44523</c:v>
                </c:pt>
                <c:pt idx="146">
                  <c:v>44524</c:v>
                </c:pt>
                <c:pt idx="147">
                  <c:v>44525</c:v>
                </c:pt>
                <c:pt idx="148">
                  <c:v>44526</c:v>
                </c:pt>
                <c:pt idx="149">
                  <c:v>44527</c:v>
                </c:pt>
                <c:pt idx="150">
                  <c:v>44528</c:v>
                </c:pt>
                <c:pt idx="151">
                  <c:v>44529</c:v>
                </c:pt>
                <c:pt idx="152">
                  <c:v>44530</c:v>
                </c:pt>
                <c:pt idx="153">
                  <c:v>44531</c:v>
                </c:pt>
                <c:pt idx="154">
                  <c:v>44532</c:v>
                </c:pt>
                <c:pt idx="155">
                  <c:v>44533</c:v>
                </c:pt>
              </c:numCache>
            </c:numRef>
          </c:cat>
          <c:val>
            <c:numRef>
              <c:f>'AgeDeaths (2)'!$C$2:$C$644</c:f>
              <c:numCache>
                <c:formatCode>General</c:formatCode>
                <c:ptCount val="15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.10286691109902081</c:v>
                </c:pt>
                <c:pt idx="6">
                  <c:v>0.10286691109902081</c:v>
                </c:pt>
                <c:pt idx="7">
                  <c:v>0.10286691109902081</c:v>
                </c:pt>
                <c:pt idx="8">
                  <c:v>0.10286691109902081</c:v>
                </c:pt>
                <c:pt idx="9">
                  <c:v>0.10286691109902081</c:v>
                </c:pt>
                <c:pt idx="10">
                  <c:v>0.10286691109902081</c:v>
                </c:pt>
                <c:pt idx="11">
                  <c:v>0.10286691109902081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.10286691109902081</c:v>
                </c:pt>
                <c:pt idx="16">
                  <c:v>0.10286691109902081</c:v>
                </c:pt>
                <c:pt idx="17">
                  <c:v>0.10286691109902081</c:v>
                </c:pt>
                <c:pt idx="18">
                  <c:v>0.10286691109902081</c:v>
                </c:pt>
                <c:pt idx="19">
                  <c:v>0.10286691109902081</c:v>
                </c:pt>
                <c:pt idx="20">
                  <c:v>0.10286691109902081</c:v>
                </c:pt>
                <c:pt idx="21">
                  <c:v>0.20573382219804162</c:v>
                </c:pt>
                <c:pt idx="22">
                  <c:v>0.10286691109902081</c:v>
                </c:pt>
                <c:pt idx="23">
                  <c:v>0.10286691109902081</c:v>
                </c:pt>
                <c:pt idx="24">
                  <c:v>0.10286691109902081</c:v>
                </c:pt>
                <c:pt idx="25">
                  <c:v>0.10286691109902081</c:v>
                </c:pt>
                <c:pt idx="26">
                  <c:v>0.10286691109902081</c:v>
                </c:pt>
                <c:pt idx="27">
                  <c:v>0.10286691109902081</c:v>
                </c:pt>
                <c:pt idx="28">
                  <c:v>0</c:v>
                </c:pt>
                <c:pt idx="29">
                  <c:v>0.10286691109902081</c:v>
                </c:pt>
                <c:pt idx="30">
                  <c:v>0.10286691109902081</c:v>
                </c:pt>
                <c:pt idx="31">
                  <c:v>0.10286691109902081</c:v>
                </c:pt>
                <c:pt idx="32">
                  <c:v>0.20573382219804162</c:v>
                </c:pt>
                <c:pt idx="33">
                  <c:v>0.20573382219804162</c:v>
                </c:pt>
                <c:pt idx="34">
                  <c:v>0.20573382219804162</c:v>
                </c:pt>
                <c:pt idx="35">
                  <c:v>0.30860073329706245</c:v>
                </c:pt>
                <c:pt idx="36">
                  <c:v>0.20573382219804162</c:v>
                </c:pt>
                <c:pt idx="37">
                  <c:v>0.20573382219804162</c:v>
                </c:pt>
                <c:pt idx="38">
                  <c:v>0.20573382219804162</c:v>
                </c:pt>
                <c:pt idx="39">
                  <c:v>0.10286691109902081</c:v>
                </c:pt>
                <c:pt idx="40">
                  <c:v>0.10286691109902081</c:v>
                </c:pt>
                <c:pt idx="41">
                  <c:v>0.10286691109902081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.10286691109902081</c:v>
                </c:pt>
                <c:pt idx="47">
                  <c:v>0.10286691109902081</c:v>
                </c:pt>
                <c:pt idx="48">
                  <c:v>0.20573382219804162</c:v>
                </c:pt>
                <c:pt idx="49">
                  <c:v>0.30860073329706245</c:v>
                </c:pt>
                <c:pt idx="50">
                  <c:v>0.30860073329706245</c:v>
                </c:pt>
                <c:pt idx="51">
                  <c:v>0.30860073329706245</c:v>
                </c:pt>
                <c:pt idx="52">
                  <c:v>0.30860073329706245</c:v>
                </c:pt>
                <c:pt idx="53">
                  <c:v>0.20573382219804162</c:v>
                </c:pt>
                <c:pt idx="54">
                  <c:v>0.20573382219804162</c:v>
                </c:pt>
                <c:pt idx="55">
                  <c:v>0.41146764439608324</c:v>
                </c:pt>
                <c:pt idx="56">
                  <c:v>0.30860073329706245</c:v>
                </c:pt>
                <c:pt idx="57">
                  <c:v>0.30860073329706245</c:v>
                </c:pt>
                <c:pt idx="58">
                  <c:v>0.30860073329706245</c:v>
                </c:pt>
                <c:pt idx="59">
                  <c:v>0.41146764439608324</c:v>
                </c:pt>
                <c:pt idx="60">
                  <c:v>0.41146764439608324</c:v>
                </c:pt>
                <c:pt idx="61">
                  <c:v>0.61720146659412489</c:v>
                </c:pt>
                <c:pt idx="62">
                  <c:v>0.30860073329706245</c:v>
                </c:pt>
                <c:pt idx="63">
                  <c:v>0.30860073329706245</c:v>
                </c:pt>
                <c:pt idx="64">
                  <c:v>0.30860073329706245</c:v>
                </c:pt>
                <c:pt idx="65">
                  <c:v>0.30860073329706245</c:v>
                </c:pt>
                <c:pt idx="66">
                  <c:v>0.20573382219804162</c:v>
                </c:pt>
                <c:pt idx="67">
                  <c:v>0.20573382219804162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.10286691109902081</c:v>
                </c:pt>
                <c:pt idx="73">
                  <c:v>0.10286691109902081</c:v>
                </c:pt>
                <c:pt idx="74">
                  <c:v>0.30860073329706245</c:v>
                </c:pt>
                <c:pt idx="75">
                  <c:v>0.5143345554951041</c:v>
                </c:pt>
                <c:pt idx="76">
                  <c:v>0.5143345554951041</c:v>
                </c:pt>
                <c:pt idx="77">
                  <c:v>0.5143345554951041</c:v>
                </c:pt>
                <c:pt idx="78">
                  <c:v>0.5143345554951041</c:v>
                </c:pt>
                <c:pt idx="79">
                  <c:v>0.41146764439608324</c:v>
                </c:pt>
                <c:pt idx="80">
                  <c:v>0.41146764439608324</c:v>
                </c:pt>
                <c:pt idx="81">
                  <c:v>0.20573382219804162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.10286691109902081</c:v>
                </c:pt>
                <c:pt idx="93">
                  <c:v>0.10286691109902081</c:v>
                </c:pt>
                <c:pt idx="94">
                  <c:v>0.10286691109902081</c:v>
                </c:pt>
                <c:pt idx="95">
                  <c:v>0.10286691109902081</c:v>
                </c:pt>
                <c:pt idx="96">
                  <c:v>0.10286691109902081</c:v>
                </c:pt>
                <c:pt idx="97">
                  <c:v>0.10286691109902081</c:v>
                </c:pt>
                <c:pt idx="98">
                  <c:v>0.30860073329706245</c:v>
                </c:pt>
                <c:pt idx="99">
                  <c:v>0.20573382219804162</c:v>
                </c:pt>
                <c:pt idx="100">
                  <c:v>0.20573382219804162</c:v>
                </c:pt>
                <c:pt idx="101">
                  <c:v>0.20573382219804162</c:v>
                </c:pt>
                <c:pt idx="102">
                  <c:v>0.30860073329706245</c:v>
                </c:pt>
                <c:pt idx="103">
                  <c:v>0.30860073329706245</c:v>
                </c:pt>
                <c:pt idx="104">
                  <c:v>0.41146764439608324</c:v>
                </c:pt>
                <c:pt idx="105">
                  <c:v>0.20573382219804162</c:v>
                </c:pt>
                <c:pt idx="106">
                  <c:v>0.30860073329706245</c:v>
                </c:pt>
                <c:pt idx="107">
                  <c:v>0.30860073329706245</c:v>
                </c:pt>
                <c:pt idx="108">
                  <c:v>0.30860073329706245</c:v>
                </c:pt>
                <c:pt idx="109">
                  <c:v>0.20573382219804162</c:v>
                </c:pt>
                <c:pt idx="110">
                  <c:v>0.20573382219804162</c:v>
                </c:pt>
                <c:pt idx="111">
                  <c:v>0.10286691109902081</c:v>
                </c:pt>
                <c:pt idx="112">
                  <c:v>0.20573382219804162</c:v>
                </c:pt>
                <c:pt idx="113">
                  <c:v>0.10286691109902081</c:v>
                </c:pt>
                <c:pt idx="114">
                  <c:v>0.10286691109902081</c:v>
                </c:pt>
                <c:pt idx="115">
                  <c:v>0.10286691109902081</c:v>
                </c:pt>
                <c:pt idx="116">
                  <c:v>0.10286691109902081</c:v>
                </c:pt>
                <c:pt idx="117">
                  <c:v>0.10286691109902081</c:v>
                </c:pt>
                <c:pt idx="118">
                  <c:v>0.20573382219804162</c:v>
                </c:pt>
                <c:pt idx="119">
                  <c:v>0.10286691109902081</c:v>
                </c:pt>
                <c:pt idx="120">
                  <c:v>0.10286691109902081</c:v>
                </c:pt>
                <c:pt idx="121">
                  <c:v>0.10286691109902081</c:v>
                </c:pt>
                <c:pt idx="122">
                  <c:v>0.20573382219804162</c:v>
                </c:pt>
                <c:pt idx="123">
                  <c:v>0.30860073329706245</c:v>
                </c:pt>
                <c:pt idx="124">
                  <c:v>0.30860073329706245</c:v>
                </c:pt>
                <c:pt idx="125">
                  <c:v>0.20573382219804162</c:v>
                </c:pt>
                <c:pt idx="126">
                  <c:v>0.20573382219804162</c:v>
                </c:pt>
                <c:pt idx="127">
                  <c:v>0.30860073329706245</c:v>
                </c:pt>
                <c:pt idx="128">
                  <c:v>0.30860073329706245</c:v>
                </c:pt>
                <c:pt idx="129">
                  <c:v>0.20573382219804162</c:v>
                </c:pt>
                <c:pt idx="130">
                  <c:v>0.10286691109902081</c:v>
                </c:pt>
                <c:pt idx="131">
                  <c:v>0.10286691109902081</c:v>
                </c:pt>
                <c:pt idx="132">
                  <c:v>0.10286691109902081</c:v>
                </c:pt>
                <c:pt idx="133">
                  <c:v>0.20573382219804162</c:v>
                </c:pt>
                <c:pt idx="134">
                  <c:v>0.10286691109902081</c:v>
                </c:pt>
                <c:pt idx="135">
                  <c:v>0.10286691109902081</c:v>
                </c:pt>
                <c:pt idx="136">
                  <c:v>0.10286691109902081</c:v>
                </c:pt>
                <c:pt idx="137">
                  <c:v>0.10286691109902081</c:v>
                </c:pt>
                <c:pt idx="138">
                  <c:v>0.30860073329706245</c:v>
                </c:pt>
                <c:pt idx="139">
                  <c:v>0.30860073329706245</c:v>
                </c:pt>
                <c:pt idx="140">
                  <c:v>0.20573382219804162</c:v>
                </c:pt>
                <c:pt idx="141">
                  <c:v>0.30860073329706245</c:v>
                </c:pt>
                <c:pt idx="142">
                  <c:v>0.30860073329706245</c:v>
                </c:pt>
                <c:pt idx="143">
                  <c:v>0.41146764439608324</c:v>
                </c:pt>
                <c:pt idx="144">
                  <c:v>0.41146764439608324</c:v>
                </c:pt>
                <c:pt idx="145">
                  <c:v>0.20573382219804162</c:v>
                </c:pt>
                <c:pt idx="146">
                  <c:v>0.20573382219804162</c:v>
                </c:pt>
                <c:pt idx="147">
                  <c:v>0.30860073329706245</c:v>
                </c:pt>
                <c:pt idx="148">
                  <c:v>0.30860073329706245</c:v>
                </c:pt>
                <c:pt idx="149">
                  <c:v>0.41146764439608324</c:v>
                </c:pt>
                <c:pt idx="150">
                  <c:v>0.41146764439608324</c:v>
                </c:pt>
                <c:pt idx="151">
                  <c:v>0.41146764439608324</c:v>
                </c:pt>
                <c:pt idx="152">
                  <c:v>0.5143345554951041</c:v>
                </c:pt>
                <c:pt idx="153">
                  <c:v>0.5143345554951041</c:v>
                </c:pt>
                <c:pt idx="154">
                  <c:v>0.5143345554951041</c:v>
                </c:pt>
                <c:pt idx="155">
                  <c:v>0.411467644396083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FDA-43C6-A408-AE988A7E0E40}"/>
            </c:ext>
          </c:extLst>
        </c:ser>
        <c:ser>
          <c:idx val="2"/>
          <c:order val="2"/>
          <c:tx>
            <c:strRef>
              <c:f>'AgeDeaths (2)'!$D$1</c:f>
              <c:strCache>
                <c:ptCount val="1"/>
                <c:pt idx="0">
                  <c:v>30-39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'AgeDeaths (2)'!$A$2:$A$644</c:f>
              <c:numCache>
                <c:formatCode>m/d;@</c:formatCode>
                <c:ptCount val="156"/>
                <c:pt idx="0">
                  <c:v>44378</c:v>
                </c:pt>
                <c:pt idx="1">
                  <c:v>44379</c:v>
                </c:pt>
                <c:pt idx="2">
                  <c:v>44380</c:v>
                </c:pt>
                <c:pt idx="3">
                  <c:v>44381</c:v>
                </c:pt>
                <c:pt idx="4">
                  <c:v>44382</c:v>
                </c:pt>
                <c:pt idx="5">
                  <c:v>44383</c:v>
                </c:pt>
                <c:pt idx="6">
                  <c:v>44384</c:v>
                </c:pt>
                <c:pt idx="7">
                  <c:v>44385</c:v>
                </c:pt>
                <c:pt idx="8">
                  <c:v>44386</c:v>
                </c:pt>
                <c:pt idx="9">
                  <c:v>44387</c:v>
                </c:pt>
                <c:pt idx="10">
                  <c:v>44388</c:v>
                </c:pt>
                <c:pt idx="11">
                  <c:v>44389</c:v>
                </c:pt>
                <c:pt idx="12">
                  <c:v>44390</c:v>
                </c:pt>
                <c:pt idx="13">
                  <c:v>44391</c:v>
                </c:pt>
                <c:pt idx="14">
                  <c:v>44392</c:v>
                </c:pt>
                <c:pt idx="15">
                  <c:v>44393</c:v>
                </c:pt>
                <c:pt idx="16">
                  <c:v>44394</c:v>
                </c:pt>
                <c:pt idx="17">
                  <c:v>44395</c:v>
                </c:pt>
                <c:pt idx="18">
                  <c:v>44396</c:v>
                </c:pt>
                <c:pt idx="19">
                  <c:v>44397</c:v>
                </c:pt>
                <c:pt idx="20">
                  <c:v>44398</c:v>
                </c:pt>
                <c:pt idx="21">
                  <c:v>44399</c:v>
                </c:pt>
                <c:pt idx="22">
                  <c:v>44400</c:v>
                </c:pt>
                <c:pt idx="23">
                  <c:v>44401</c:v>
                </c:pt>
                <c:pt idx="24">
                  <c:v>44402</c:v>
                </c:pt>
                <c:pt idx="25">
                  <c:v>44403</c:v>
                </c:pt>
                <c:pt idx="26">
                  <c:v>44404</c:v>
                </c:pt>
                <c:pt idx="27">
                  <c:v>44405</c:v>
                </c:pt>
                <c:pt idx="28">
                  <c:v>44406</c:v>
                </c:pt>
                <c:pt idx="29">
                  <c:v>44407</c:v>
                </c:pt>
                <c:pt idx="30">
                  <c:v>44408</c:v>
                </c:pt>
                <c:pt idx="31">
                  <c:v>44409</c:v>
                </c:pt>
                <c:pt idx="32">
                  <c:v>44410</c:v>
                </c:pt>
                <c:pt idx="33">
                  <c:v>44411</c:v>
                </c:pt>
                <c:pt idx="34">
                  <c:v>44412</c:v>
                </c:pt>
                <c:pt idx="35">
                  <c:v>44413</c:v>
                </c:pt>
                <c:pt idx="36">
                  <c:v>44414</c:v>
                </c:pt>
                <c:pt idx="37">
                  <c:v>44415</c:v>
                </c:pt>
                <c:pt idx="38">
                  <c:v>44416</c:v>
                </c:pt>
                <c:pt idx="39">
                  <c:v>44417</c:v>
                </c:pt>
                <c:pt idx="40">
                  <c:v>44418</c:v>
                </c:pt>
                <c:pt idx="41">
                  <c:v>44419</c:v>
                </c:pt>
                <c:pt idx="42">
                  <c:v>44420</c:v>
                </c:pt>
                <c:pt idx="43">
                  <c:v>44421</c:v>
                </c:pt>
                <c:pt idx="44">
                  <c:v>44422</c:v>
                </c:pt>
                <c:pt idx="45">
                  <c:v>44423</c:v>
                </c:pt>
                <c:pt idx="46">
                  <c:v>44424</c:v>
                </c:pt>
                <c:pt idx="47">
                  <c:v>44425</c:v>
                </c:pt>
                <c:pt idx="48">
                  <c:v>44426</c:v>
                </c:pt>
                <c:pt idx="49">
                  <c:v>44427</c:v>
                </c:pt>
                <c:pt idx="50">
                  <c:v>44428</c:v>
                </c:pt>
                <c:pt idx="51">
                  <c:v>44429</c:v>
                </c:pt>
                <c:pt idx="52">
                  <c:v>44430</c:v>
                </c:pt>
                <c:pt idx="53">
                  <c:v>44431</c:v>
                </c:pt>
                <c:pt idx="54">
                  <c:v>44432</c:v>
                </c:pt>
                <c:pt idx="55">
                  <c:v>44433</c:v>
                </c:pt>
                <c:pt idx="56">
                  <c:v>44434</c:v>
                </c:pt>
                <c:pt idx="57">
                  <c:v>44435</c:v>
                </c:pt>
                <c:pt idx="58">
                  <c:v>44436</c:v>
                </c:pt>
                <c:pt idx="59">
                  <c:v>44437</c:v>
                </c:pt>
                <c:pt idx="60">
                  <c:v>44438</c:v>
                </c:pt>
                <c:pt idx="61">
                  <c:v>44439</c:v>
                </c:pt>
                <c:pt idx="62">
                  <c:v>44440</c:v>
                </c:pt>
                <c:pt idx="63">
                  <c:v>44441</c:v>
                </c:pt>
                <c:pt idx="64">
                  <c:v>44442</c:v>
                </c:pt>
                <c:pt idx="65">
                  <c:v>44443</c:v>
                </c:pt>
                <c:pt idx="66">
                  <c:v>44444</c:v>
                </c:pt>
                <c:pt idx="67">
                  <c:v>44445</c:v>
                </c:pt>
                <c:pt idx="68">
                  <c:v>44446</c:v>
                </c:pt>
                <c:pt idx="69">
                  <c:v>44447</c:v>
                </c:pt>
                <c:pt idx="70">
                  <c:v>44448</c:v>
                </c:pt>
                <c:pt idx="71">
                  <c:v>44449</c:v>
                </c:pt>
                <c:pt idx="72">
                  <c:v>44450</c:v>
                </c:pt>
                <c:pt idx="73">
                  <c:v>44451</c:v>
                </c:pt>
                <c:pt idx="74">
                  <c:v>44452</c:v>
                </c:pt>
                <c:pt idx="75">
                  <c:v>44453</c:v>
                </c:pt>
                <c:pt idx="76">
                  <c:v>44454</c:v>
                </c:pt>
                <c:pt idx="77">
                  <c:v>44455</c:v>
                </c:pt>
                <c:pt idx="78">
                  <c:v>44456</c:v>
                </c:pt>
                <c:pt idx="79">
                  <c:v>44457</c:v>
                </c:pt>
                <c:pt idx="80">
                  <c:v>44458</c:v>
                </c:pt>
                <c:pt idx="81">
                  <c:v>44459</c:v>
                </c:pt>
                <c:pt idx="82">
                  <c:v>44460</c:v>
                </c:pt>
                <c:pt idx="83">
                  <c:v>44461</c:v>
                </c:pt>
                <c:pt idx="84">
                  <c:v>44462</c:v>
                </c:pt>
                <c:pt idx="85">
                  <c:v>44463</c:v>
                </c:pt>
                <c:pt idx="86">
                  <c:v>44464</c:v>
                </c:pt>
                <c:pt idx="87">
                  <c:v>44465</c:v>
                </c:pt>
                <c:pt idx="88">
                  <c:v>44466</c:v>
                </c:pt>
                <c:pt idx="89">
                  <c:v>44467</c:v>
                </c:pt>
                <c:pt idx="90">
                  <c:v>44468</c:v>
                </c:pt>
                <c:pt idx="91">
                  <c:v>44469</c:v>
                </c:pt>
                <c:pt idx="92">
                  <c:v>44470</c:v>
                </c:pt>
                <c:pt idx="93">
                  <c:v>44471</c:v>
                </c:pt>
                <c:pt idx="94">
                  <c:v>44472</c:v>
                </c:pt>
                <c:pt idx="95">
                  <c:v>44473</c:v>
                </c:pt>
                <c:pt idx="96">
                  <c:v>44474</c:v>
                </c:pt>
                <c:pt idx="97">
                  <c:v>44475</c:v>
                </c:pt>
                <c:pt idx="98">
                  <c:v>44476</c:v>
                </c:pt>
                <c:pt idx="99">
                  <c:v>44477</c:v>
                </c:pt>
                <c:pt idx="100">
                  <c:v>44478</c:v>
                </c:pt>
                <c:pt idx="101">
                  <c:v>44479</c:v>
                </c:pt>
                <c:pt idx="102">
                  <c:v>44480</c:v>
                </c:pt>
                <c:pt idx="103">
                  <c:v>44481</c:v>
                </c:pt>
                <c:pt idx="104">
                  <c:v>44482</c:v>
                </c:pt>
                <c:pt idx="105">
                  <c:v>44483</c:v>
                </c:pt>
                <c:pt idx="106">
                  <c:v>44484</c:v>
                </c:pt>
                <c:pt idx="107">
                  <c:v>44485</c:v>
                </c:pt>
                <c:pt idx="108">
                  <c:v>44486</c:v>
                </c:pt>
                <c:pt idx="109">
                  <c:v>44487</c:v>
                </c:pt>
                <c:pt idx="110">
                  <c:v>44488</c:v>
                </c:pt>
                <c:pt idx="111">
                  <c:v>44489</c:v>
                </c:pt>
                <c:pt idx="112">
                  <c:v>44490</c:v>
                </c:pt>
                <c:pt idx="113">
                  <c:v>44491</c:v>
                </c:pt>
                <c:pt idx="114">
                  <c:v>44492</c:v>
                </c:pt>
                <c:pt idx="115">
                  <c:v>44493</c:v>
                </c:pt>
                <c:pt idx="116">
                  <c:v>44494</c:v>
                </c:pt>
                <c:pt idx="117">
                  <c:v>44495</c:v>
                </c:pt>
                <c:pt idx="118">
                  <c:v>44496</c:v>
                </c:pt>
                <c:pt idx="119">
                  <c:v>44497</c:v>
                </c:pt>
                <c:pt idx="120">
                  <c:v>44498</c:v>
                </c:pt>
                <c:pt idx="121">
                  <c:v>44499</c:v>
                </c:pt>
                <c:pt idx="122">
                  <c:v>44500</c:v>
                </c:pt>
                <c:pt idx="123">
                  <c:v>44501</c:v>
                </c:pt>
                <c:pt idx="124">
                  <c:v>44502</c:v>
                </c:pt>
                <c:pt idx="125">
                  <c:v>44503</c:v>
                </c:pt>
                <c:pt idx="126">
                  <c:v>44504</c:v>
                </c:pt>
                <c:pt idx="127">
                  <c:v>44505</c:v>
                </c:pt>
                <c:pt idx="128">
                  <c:v>44506</c:v>
                </c:pt>
                <c:pt idx="129">
                  <c:v>44507</c:v>
                </c:pt>
                <c:pt idx="130">
                  <c:v>44508</c:v>
                </c:pt>
                <c:pt idx="131">
                  <c:v>44509</c:v>
                </c:pt>
                <c:pt idx="132">
                  <c:v>44510</c:v>
                </c:pt>
                <c:pt idx="133">
                  <c:v>44511</c:v>
                </c:pt>
                <c:pt idx="134">
                  <c:v>44512</c:v>
                </c:pt>
                <c:pt idx="135">
                  <c:v>44513</c:v>
                </c:pt>
                <c:pt idx="136">
                  <c:v>44514</c:v>
                </c:pt>
                <c:pt idx="137">
                  <c:v>44515</c:v>
                </c:pt>
                <c:pt idx="138">
                  <c:v>44516</c:v>
                </c:pt>
                <c:pt idx="139">
                  <c:v>44517</c:v>
                </c:pt>
                <c:pt idx="140">
                  <c:v>44518</c:v>
                </c:pt>
                <c:pt idx="141">
                  <c:v>44519</c:v>
                </c:pt>
                <c:pt idx="142">
                  <c:v>44520</c:v>
                </c:pt>
                <c:pt idx="143">
                  <c:v>44521</c:v>
                </c:pt>
                <c:pt idx="144">
                  <c:v>44522</c:v>
                </c:pt>
                <c:pt idx="145">
                  <c:v>44523</c:v>
                </c:pt>
                <c:pt idx="146">
                  <c:v>44524</c:v>
                </c:pt>
                <c:pt idx="147">
                  <c:v>44525</c:v>
                </c:pt>
                <c:pt idx="148">
                  <c:v>44526</c:v>
                </c:pt>
                <c:pt idx="149">
                  <c:v>44527</c:v>
                </c:pt>
                <c:pt idx="150">
                  <c:v>44528</c:v>
                </c:pt>
                <c:pt idx="151">
                  <c:v>44529</c:v>
                </c:pt>
                <c:pt idx="152">
                  <c:v>44530</c:v>
                </c:pt>
                <c:pt idx="153">
                  <c:v>44531</c:v>
                </c:pt>
                <c:pt idx="154">
                  <c:v>44532</c:v>
                </c:pt>
                <c:pt idx="155">
                  <c:v>44533</c:v>
                </c:pt>
              </c:numCache>
            </c:numRef>
          </c:cat>
          <c:val>
            <c:numRef>
              <c:f>'AgeDeaths (2)'!$D$2:$D$644</c:f>
              <c:numCache>
                <c:formatCode>General</c:formatCode>
                <c:ptCount val="156"/>
                <c:pt idx="0">
                  <c:v>0.23851940510398134</c:v>
                </c:pt>
                <c:pt idx="1">
                  <c:v>0.23851940510398134</c:v>
                </c:pt>
                <c:pt idx="2">
                  <c:v>0.11925970255199067</c:v>
                </c:pt>
                <c:pt idx="3">
                  <c:v>0.11925970255199067</c:v>
                </c:pt>
                <c:pt idx="4">
                  <c:v>0.11925970255199067</c:v>
                </c:pt>
                <c:pt idx="5">
                  <c:v>0.11925970255199067</c:v>
                </c:pt>
                <c:pt idx="6">
                  <c:v>0.23851940510398134</c:v>
                </c:pt>
                <c:pt idx="7">
                  <c:v>0.23851940510398134</c:v>
                </c:pt>
                <c:pt idx="8">
                  <c:v>0.11925970255199067</c:v>
                </c:pt>
                <c:pt idx="9">
                  <c:v>0.11925970255199067</c:v>
                </c:pt>
                <c:pt idx="10">
                  <c:v>0.11925970255199067</c:v>
                </c:pt>
                <c:pt idx="11">
                  <c:v>0.11925970255199067</c:v>
                </c:pt>
                <c:pt idx="12">
                  <c:v>0.11925970255199067</c:v>
                </c:pt>
                <c:pt idx="13">
                  <c:v>0</c:v>
                </c:pt>
                <c:pt idx="14">
                  <c:v>0</c:v>
                </c:pt>
                <c:pt idx="15">
                  <c:v>0.11925970255199067</c:v>
                </c:pt>
                <c:pt idx="16">
                  <c:v>0.11925970255199067</c:v>
                </c:pt>
                <c:pt idx="17">
                  <c:v>0.11925970255199067</c:v>
                </c:pt>
                <c:pt idx="18">
                  <c:v>0.11925970255199067</c:v>
                </c:pt>
                <c:pt idx="19">
                  <c:v>0.11925970255199067</c:v>
                </c:pt>
                <c:pt idx="20">
                  <c:v>0.23851940510398134</c:v>
                </c:pt>
                <c:pt idx="21">
                  <c:v>0.23851940510398134</c:v>
                </c:pt>
                <c:pt idx="22">
                  <c:v>0.11925970255199067</c:v>
                </c:pt>
                <c:pt idx="23">
                  <c:v>0.11925970255199067</c:v>
                </c:pt>
                <c:pt idx="24">
                  <c:v>0.11925970255199067</c:v>
                </c:pt>
                <c:pt idx="25">
                  <c:v>0.11925970255199067</c:v>
                </c:pt>
                <c:pt idx="26">
                  <c:v>0.23851940510398134</c:v>
                </c:pt>
                <c:pt idx="27">
                  <c:v>0.11925970255199067</c:v>
                </c:pt>
                <c:pt idx="28">
                  <c:v>0.11925970255199067</c:v>
                </c:pt>
                <c:pt idx="29">
                  <c:v>0.11925970255199067</c:v>
                </c:pt>
                <c:pt idx="30">
                  <c:v>0.11925970255199067</c:v>
                </c:pt>
                <c:pt idx="31">
                  <c:v>0.11925970255199067</c:v>
                </c:pt>
                <c:pt idx="32">
                  <c:v>0.11925970255199067</c:v>
                </c:pt>
                <c:pt idx="33">
                  <c:v>0</c:v>
                </c:pt>
                <c:pt idx="34">
                  <c:v>0.11925970255199067</c:v>
                </c:pt>
                <c:pt idx="35">
                  <c:v>0.11925970255199067</c:v>
                </c:pt>
                <c:pt idx="36">
                  <c:v>0.11925970255199067</c:v>
                </c:pt>
                <c:pt idx="37">
                  <c:v>0.11925970255199067</c:v>
                </c:pt>
                <c:pt idx="38">
                  <c:v>0.11925970255199067</c:v>
                </c:pt>
                <c:pt idx="39">
                  <c:v>0.23851940510398134</c:v>
                </c:pt>
                <c:pt idx="40">
                  <c:v>0.23851940510398134</c:v>
                </c:pt>
                <c:pt idx="41">
                  <c:v>0.11925970255199067</c:v>
                </c:pt>
                <c:pt idx="42">
                  <c:v>0.23851940510398134</c:v>
                </c:pt>
                <c:pt idx="43">
                  <c:v>0.23851940510398134</c:v>
                </c:pt>
                <c:pt idx="44">
                  <c:v>0.23851940510398134</c:v>
                </c:pt>
                <c:pt idx="45">
                  <c:v>0.23851940510398134</c:v>
                </c:pt>
                <c:pt idx="46">
                  <c:v>0.23851940510398134</c:v>
                </c:pt>
                <c:pt idx="47">
                  <c:v>0.23851940510398134</c:v>
                </c:pt>
                <c:pt idx="48">
                  <c:v>0.35777910765597198</c:v>
                </c:pt>
                <c:pt idx="49">
                  <c:v>0.35777910765597198</c:v>
                </c:pt>
                <c:pt idx="50">
                  <c:v>0.35777910765597198</c:v>
                </c:pt>
                <c:pt idx="51">
                  <c:v>0.47703881020796268</c:v>
                </c:pt>
                <c:pt idx="52">
                  <c:v>0.47703881020796268</c:v>
                </c:pt>
                <c:pt idx="53">
                  <c:v>0.47703881020796268</c:v>
                </c:pt>
                <c:pt idx="54">
                  <c:v>0.59629851275995338</c:v>
                </c:pt>
                <c:pt idx="55">
                  <c:v>0.47703881020796268</c:v>
                </c:pt>
                <c:pt idx="56">
                  <c:v>0.35777910765597198</c:v>
                </c:pt>
                <c:pt idx="57">
                  <c:v>0.35777910765597198</c:v>
                </c:pt>
                <c:pt idx="58">
                  <c:v>0.35777910765597198</c:v>
                </c:pt>
                <c:pt idx="59">
                  <c:v>0.35777910765597198</c:v>
                </c:pt>
                <c:pt idx="60">
                  <c:v>0.59629851275995338</c:v>
                </c:pt>
                <c:pt idx="61">
                  <c:v>0.59629851275995338</c:v>
                </c:pt>
                <c:pt idx="62">
                  <c:v>0.59629851275995338</c:v>
                </c:pt>
                <c:pt idx="63">
                  <c:v>0.59629851275995338</c:v>
                </c:pt>
                <c:pt idx="64">
                  <c:v>0.71555821531194397</c:v>
                </c:pt>
                <c:pt idx="65">
                  <c:v>0.71555821531194397</c:v>
                </c:pt>
                <c:pt idx="66">
                  <c:v>0.71555821531194397</c:v>
                </c:pt>
                <c:pt idx="67">
                  <c:v>0.47703881020796268</c:v>
                </c:pt>
                <c:pt idx="68">
                  <c:v>0.47703881020796268</c:v>
                </c:pt>
                <c:pt idx="69">
                  <c:v>0.59629851275995338</c:v>
                </c:pt>
                <c:pt idx="70">
                  <c:v>0.71555821531194397</c:v>
                </c:pt>
                <c:pt idx="71">
                  <c:v>0.59629851275995338</c:v>
                </c:pt>
                <c:pt idx="72">
                  <c:v>0.47703881020796268</c:v>
                </c:pt>
                <c:pt idx="73">
                  <c:v>0.47703881020796268</c:v>
                </c:pt>
                <c:pt idx="74">
                  <c:v>0.59629851275995338</c:v>
                </c:pt>
                <c:pt idx="75">
                  <c:v>0.47703881020796268</c:v>
                </c:pt>
                <c:pt idx="76">
                  <c:v>0.35777910765597198</c:v>
                </c:pt>
                <c:pt idx="77">
                  <c:v>0.47703881020796268</c:v>
                </c:pt>
                <c:pt idx="78">
                  <c:v>0.59629851275995338</c:v>
                </c:pt>
                <c:pt idx="79">
                  <c:v>0.59629851275995338</c:v>
                </c:pt>
                <c:pt idx="80">
                  <c:v>0.59629851275995338</c:v>
                </c:pt>
                <c:pt idx="81">
                  <c:v>0.35777910765597198</c:v>
                </c:pt>
                <c:pt idx="82">
                  <c:v>0.59629851275995338</c:v>
                </c:pt>
                <c:pt idx="83">
                  <c:v>0.71555821531194397</c:v>
                </c:pt>
                <c:pt idx="84">
                  <c:v>0.83481791786393467</c:v>
                </c:pt>
                <c:pt idx="85">
                  <c:v>0.71555821531194397</c:v>
                </c:pt>
                <c:pt idx="86">
                  <c:v>0.71555821531194397</c:v>
                </c:pt>
                <c:pt idx="87">
                  <c:v>1.073337322967916</c:v>
                </c:pt>
                <c:pt idx="88">
                  <c:v>1.1925970255199068</c:v>
                </c:pt>
                <c:pt idx="89">
                  <c:v>0.95407762041592536</c:v>
                </c:pt>
                <c:pt idx="90">
                  <c:v>0.95407762041592525</c:v>
                </c:pt>
                <c:pt idx="91">
                  <c:v>0.83481791786393467</c:v>
                </c:pt>
                <c:pt idx="92">
                  <c:v>1.0733373229679162</c:v>
                </c:pt>
                <c:pt idx="93">
                  <c:v>1.1925970255199068</c:v>
                </c:pt>
                <c:pt idx="94">
                  <c:v>0.83481791786393456</c:v>
                </c:pt>
                <c:pt idx="95">
                  <c:v>0.95407762041592536</c:v>
                </c:pt>
                <c:pt idx="96">
                  <c:v>1.073337322967916</c:v>
                </c:pt>
                <c:pt idx="97">
                  <c:v>1.1925970255199068</c:v>
                </c:pt>
                <c:pt idx="98">
                  <c:v>0.95407762041592536</c:v>
                </c:pt>
                <c:pt idx="99">
                  <c:v>0.71555821531194397</c:v>
                </c:pt>
                <c:pt idx="100">
                  <c:v>0.95407762041592536</c:v>
                </c:pt>
                <c:pt idx="101">
                  <c:v>1.073337322967916</c:v>
                </c:pt>
                <c:pt idx="102">
                  <c:v>0.95407762041592525</c:v>
                </c:pt>
                <c:pt idx="103">
                  <c:v>0.95407762041592525</c:v>
                </c:pt>
                <c:pt idx="104">
                  <c:v>0.95407762041592536</c:v>
                </c:pt>
                <c:pt idx="105">
                  <c:v>1.073337322967916</c:v>
                </c:pt>
                <c:pt idx="106">
                  <c:v>1.073337322967916</c:v>
                </c:pt>
                <c:pt idx="107">
                  <c:v>1.4311164306238879</c:v>
                </c:pt>
                <c:pt idx="108">
                  <c:v>1.3118567280718973</c:v>
                </c:pt>
                <c:pt idx="109">
                  <c:v>1.3118567280718973</c:v>
                </c:pt>
                <c:pt idx="110">
                  <c:v>1.5503761331758787</c:v>
                </c:pt>
                <c:pt idx="111">
                  <c:v>1.4311164306238879</c:v>
                </c:pt>
                <c:pt idx="112">
                  <c:v>1.7888955382798599</c:v>
                </c:pt>
                <c:pt idx="113">
                  <c:v>1.9081552408318507</c:v>
                </c:pt>
                <c:pt idx="114">
                  <c:v>1.3118567280718973</c:v>
                </c:pt>
                <c:pt idx="115">
                  <c:v>1.5503761331758787</c:v>
                </c:pt>
                <c:pt idx="116">
                  <c:v>1.5503761331758787</c:v>
                </c:pt>
                <c:pt idx="117">
                  <c:v>1.1925970255199068</c:v>
                </c:pt>
                <c:pt idx="118">
                  <c:v>1.1925970255199068</c:v>
                </c:pt>
                <c:pt idx="119">
                  <c:v>0.71555821531194397</c:v>
                </c:pt>
                <c:pt idx="120">
                  <c:v>0.83481791786393467</c:v>
                </c:pt>
                <c:pt idx="121">
                  <c:v>0.83481791786393456</c:v>
                </c:pt>
                <c:pt idx="122">
                  <c:v>0.59629851275995338</c:v>
                </c:pt>
                <c:pt idx="123">
                  <c:v>0.59629851275995338</c:v>
                </c:pt>
                <c:pt idx="124">
                  <c:v>0.71555821531194397</c:v>
                </c:pt>
                <c:pt idx="125">
                  <c:v>0.59629851275995338</c:v>
                </c:pt>
                <c:pt idx="126">
                  <c:v>0.71555821531194397</c:v>
                </c:pt>
                <c:pt idx="127">
                  <c:v>0.59629851275995338</c:v>
                </c:pt>
                <c:pt idx="128">
                  <c:v>0.59629851275995338</c:v>
                </c:pt>
                <c:pt idx="129">
                  <c:v>0.83481791786393467</c:v>
                </c:pt>
                <c:pt idx="130">
                  <c:v>0.83481791786393456</c:v>
                </c:pt>
                <c:pt idx="131">
                  <c:v>1.073337322967916</c:v>
                </c:pt>
                <c:pt idx="132">
                  <c:v>1.1925970255199068</c:v>
                </c:pt>
                <c:pt idx="133">
                  <c:v>1.4311164306238879</c:v>
                </c:pt>
                <c:pt idx="134">
                  <c:v>1.4311164306238882</c:v>
                </c:pt>
                <c:pt idx="135">
                  <c:v>1.6696358357278691</c:v>
                </c:pt>
                <c:pt idx="136">
                  <c:v>1.6696358357278691</c:v>
                </c:pt>
                <c:pt idx="137">
                  <c:v>1.7888955382798599</c:v>
                </c:pt>
                <c:pt idx="138">
                  <c:v>1.5503761331758787</c:v>
                </c:pt>
                <c:pt idx="139">
                  <c:v>1.550376133175879</c:v>
                </c:pt>
                <c:pt idx="140">
                  <c:v>1.3118567280718973</c:v>
                </c:pt>
                <c:pt idx="141">
                  <c:v>1.3118567280718973</c:v>
                </c:pt>
                <c:pt idx="142">
                  <c:v>0.95407762041592525</c:v>
                </c:pt>
                <c:pt idx="143">
                  <c:v>1.3118567280718973</c:v>
                </c:pt>
                <c:pt idx="144">
                  <c:v>1.4311164306238879</c:v>
                </c:pt>
                <c:pt idx="145">
                  <c:v>1.6696358357278693</c:v>
                </c:pt>
                <c:pt idx="146">
                  <c:v>1.5503761331758787</c:v>
                </c:pt>
                <c:pt idx="147">
                  <c:v>1.7888955382798599</c:v>
                </c:pt>
                <c:pt idx="148">
                  <c:v>1.9081552408318507</c:v>
                </c:pt>
                <c:pt idx="149">
                  <c:v>2.0274149433838415</c:v>
                </c:pt>
                <c:pt idx="150">
                  <c:v>1.7888955382798599</c:v>
                </c:pt>
                <c:pt idx="151">
                  <c:v>1.6696358357278691</c:v>
                </c:pt>
                <c:pt idx="152">
                  <c:v>1.4311164306238879</c:v>
                </c:pt>
                <c:pt idx="153">
                  <c:v>1.7888955382798599</c:v>
                </c:pt>
                <c:pt idx="154">
                  <c:v>1.9081552408318507</c:v>
                </c:pt>
                <c:pt idx="155">
                  <c:v>1.66963583572786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FDA-43C6-A408-AE988A7E0E40}"/>
            </c:ext>
          </c:extLst>
        </c:ser>
        <c:ser>
          <c:idx val="3"/>
          <c:order val="3"/>
          <c:tx>
            <c:strRef>
              <c:f>'AgeDeaths (2)'!$E$1</c:f>
              <c:strCache>
                <c:ptCount val="1"/>
                <c:pt idx="0">
                  <c:v>40-49</c:v>
                </c:pt>
              </c:strCache>
            </c:strRef>
          </c:tx>
          <c:spPr>
            <a:ln w="28575" cap="rnd">
              <a:solidFill>
                <a:srgbClr val="3C96B4"/>
              </a:solidFill>
              <a:prstDash val="dash"/>
              <a:round/>
            </a:ln>
            <a:effectLst/>
          </c:spPr>
          <c:marker>
            <c:symbol val="none"/>
          </c:marker>
          <c:cat>
            <c:numRef>
              <c:f>'AgeDeaths (2)'!$A$2:$A$644</c:f>
              <c:numCache>
                <c:formatCode>m/d;@</c:formatCode>
                <c:ptCount val="156"/>
                <c:pt idx="0">
                  <c:v>44378</c:v>
                </c:pt>
                <c:pt idx="1">
                  <c:v>44379</c:v>
                </c:pt>
                <c:pt idx="2">
                  <c:v>44380</c:v>
                </c:pt>
                <c:pt idx="3">
                  <c:v>44381</c:v>
                </c:pt>
                <c:pt idx="4">
                  <c:v>44382</c:v>
                </c:pt>
                <c:pt idx="5">
                  <c:v>44383</c:v>
                </c:pt>
                <c:pt idx="6">
                  <c:v>44384</c:v>
                </c:pt>
                <c:pt idx="7">
                  <c:v>44385</c:v>
                </c:pt>
                <c:pt idx="8">
                  <c:v>44386</c:v>
                </c:pt>
                <c:pt idx="9">
                  <c:v>44387</c:v>
                </c:pt>
                <c:pt idx="10">
                  <c:v>44388</c:v>
                </c:pt>
                <c:pt idx="11">
                  <c:v>44389</c:v>
                </c:pt>
                <c:pt idx="12">
                  <c:v>44390</c:v>
                </c:pt>
                <c:pt idx="13">
                  <c:v>44391</c:v>
                </c:pt>
                <c:pt idx="14">
                  <c:v>44392</c:v>
                </c:pt>
                <c:pt idx="15">
                  <c:v>44393</c:v>
                </c:pt>
                <c:pt idx="16">
                  <c:v>44394</c:v>
                </c:pt>
                <c:pt idx="17">
                  <c:v>44395</c:v>
                </c:pt>
                <c:pt idx="18">
                  <c:v>44396</c:v>
                </c:pt>
                <c:pt idx="19">
                  <c:v>44397</c:v>
                </c:pt>
                <c:pt idx="20">
                  <c:v>44398</c:v>
                </c:pt>
                <c:pt idx="21">
                  <c:v>44399</c:v>
                </c:pt>
                <c:pt idx="22">
                  <c:v>44400</c:v>
                </c:pt>
                <c:pt idx="23">
                  <c:v>44401</c:v>
                </c:pt>
                <c:pt idx="24">
                  <c:v>44402</c:v>
                </c:pt>
                <c:pt idx="25">
                  <c:v>44403</c:v>
                </c:pt>
                <c:pt idx="26">
                  <c:v>44404</c:v>
                </c:pt>
                <c:pt idx="27">
                  <c:v>44405</c:v>
                </c:pt>
                <c:pt idx="28">
                  <c:v>44406</c:v>
                </c:pt>
                <c:pt idx="29">
                  <c:v>44407</c:v>
                </c:pt>
                <c:pt idx="30">
                  <c:v>44408</c:v>
                </c:pt>
                <c:pt idx="31">
                  <c:v>44409</c:v>
                </c:pt>
                <c:pt idx="32">
                  <c:v>44410</c:v>
                </c:pt>
                <c:pt idx="33">
                  <c:v>44411</c:v>
                </c:pt>
                <c:pt idx="34">
                  <c:v>44412</c:v>
                </c:pt>
                <c:pt idx="35">
                  <c:v>44413</c:v>
                </c:pt>
                <c:pt idx="36">
                  <c:v>44414</c:v>
                </c:pt>
                <c:pt idx="37">
                  <c:v>44415</c:v>
                </c:pt>
                <c:pt idx="38">
                  <c:v>44416</c:v>
                </c:pt>
                <c:pt idx="39">
                  <c:v>44417</c:v>
                </c:pt>
                <c:pt idx="40">
                  <c:v>44418</c:v>
                </c:pt>
                <c:pt idx="41">
                  <c:v>44419</c:v>
                </c:pt>
                <c:pt idx="42">
                  <c:v>44420</c:v>
                </c:pt>
                <c:pt idx="43">
                  <c:v>44421</c:v>
                </c:pt>
                <c:pt idx="44">
                  <c:v>44422</c:v>
                </c:pt>
                <c:pt idx="45">
                  <c:v>44423</c:v>
                </c:pt>
                <c:pt idx="46">
                  <c:v>44424</c:v>
                </c:pt>
                <c:pt idx="47">
                  <c:v>44425</c:v>
                </c:pt>
                <c:pt idx="48">
                  <c:v>44426</c:v>
                </c:pt>
                <c:pt idx="49">
                  <c:v>44427</c:v>
                </c:pt>
                <c:pt idx="50">
                  <c:v>44428</c:v>
                </c:pt>
                <c:pt idx="51">
                  <c:v>44429</c:v>
                </c:pt>
                <c:pt idx="52">
                  <c:v>44430</c:v>
                </c:pt>
                <c:pt idx="53">
                  <c:v>44431</c:v>
                </c:pt>
                <c:pt idx="54">
                  <c:v>44432</c:v>
                </c:pt>
                <c:pt idx="55">
                  <c:v>44433</c:v>
                </c:pt>
                <c:pt idx="56">
                  <c:v>44434</c:v>
                </c:pt>
                <c:pt idx="57">
                  <c:v>44435</c:v>
                </c:pt>
                <c:pt idx="58">
                  <c:v>44436</c:v>
                </c:pt>
                <c:pt idx="59">
                  <c:v>44437</c:v>
                </c:pt>
                <c:pt idx="60">
                  <c:v>44438</c:v>
                </c:pt>
                <c:pt idx="61">
                  <c:v>44439</c:v>
                </c:pt>
                <c:pt idx="62">
                  <c:v>44440</c:v>
                </c:pt>
                <c:pt idx="63">
                  <c:v>44441</c:v>
                </c:pt>
                <c:pt idx="64">
                  <c:v>44442</c:v>
                </c:pt>
                <c:pt idx="65">
                  <c:v>44443</c:v>
                </c:pt>
                <c:pt idx="66">
                  <c:v>44444</c:v>
                </c:pt>
                <c:pt idx="67">
                  <c:v>44445</c:v>
                </c:pt>
                <c:pt idx="68">
                  <c:v>44446</c:v>
                </c:pt>
                <c:pt idx="69">
                  <c:v>44447</c:v>
                </c:pt>
                <c:pt idx="70">
                  <c:v>44448</c:v>
                </c:pt>
                <c:pt idx="71">
                  <c:v>44449</c:v>
                </c:pt>
                <c:pt idx="72">
                  <c:v>44450</c:v>
                </c:pt>
                <c:pt idx="73">
                  <c:v>44451</c:v>
                </c:pt>
                <c:pt idx="74">
                  <c:v>44452</c:v>
                </c:pt>
                <c:pt idx="75">
                  <c:v>44453</c:v>
                </c:pt>
                <c:pt idx="76">
                  <c:v>44454</c:v>
                </c:pt>
                <c:pt idx="77">
                  <c:v>44455</c:v>
                </c:pt>
                <c:pt idx="78">
                  <c:v>44456</c:v>
                </c:pt>
                <c:pt idx="79">
                  <c:v>44457</c:v>
                </c:pt>
                <c:pt idx="80">
                  <c:v>44458</c:v>
                </c:pt>
                <c:pt idx="81">
                  <c:v>44459</c:v>
                </c:pt>
                <c:pt idx="82">
                  <c:v>44460</c:v>
                </c:pt>
                <c:pt idx="83">
                  <c:v>44461</c:v>
                </c:pt>
                <c:pt idx="84">
                  <c:v>44462</c:v>
                </c:pt>
                <c:pt idx="85">
                  <c:v>44463</c:v>
                </c:pt>
                <c:pt idx="86">
                  <c:v>44464</c:v>
                </c:pt>
                <c:pt idx="87">
                  <c:v>44465</c:v>
                </c:pt>
                <c:pt idx="88">
                  <c:v>44466</c:v>
                </c:pt>
                <c:pt idx="89">
                  <c:v>44467</c:v>
                </c:pt>
                <c:pt idx="90">
                  <c:v>44468</c:v>
                </c:pt>
                <c:pt idx="91">
                  <c:v>44469</c:v>
                </c:pt>
                <c:pt idx="92">
                  <c:v>44470</c:v>
                </c:pt>
                <c:pt idx="93">
                  <c:v>44471</c:v>
                </c:pt>
                <c:pt idx="94">
                  <c:v>44472</c:v>
                </c:pt>
                <c:pt idx="95">
                  <c:v>44473</c:v>
                </c:pt>
                <c:pt idx="96">
                  <c:v>44474</c:v>
                </c:pt>
                <c:pt idx="97">
                  <c:v>44475</c:v>
                </c:pt>
                <c:pt idx="98">
                  <c:v>44476</c:v>
                </c:pt>
                <c:pt idx="99">
                  <c:v>44477</c:v>
                </c:pt>
                <c:pt idx="100">
                  <c:v>44478</c:v>
                </c:pt>
                <c:pt idx="101">
                  <c:v>44479</c:v>
                </c:pt>
                <c:pt idx="102">
                  <c:v>44480</c:v>
                </c:pt>
                <c:pt idx="103">
                  <c:v>44481</c:v>
                </c:pt>
                <c:pt idx="104">
                  <c:v>44482</c:v>
                </c:pt>
                <c:pt idx="105">
                  <c:v>44483</c:v>
                </c:pt>
                <c:pt idx="106">
                  <c:v>44484</c:v>
                </c:pt>
                <c:pt idx="107">
                  <c:v>44485</c:v>
                </c:pt>
                <c:pt idx="108">
                  <c:v>44486</c:v>
                </c:pt>
                <c:pt idx="109">
                  <c:v>44487</c:v>
                </c:pt>
                <c:pt idx="110">
                  <c:v>44488</c:v>
                </c:pt>
                <c:pt idx="111">
                  <c:v>44489</c:v>
                </c:pt>
                <c:pt idx="112">
                  <c:v>44490</c:v>
                </c:pt>
                <c:pt idx="113">
                  <c:v>44491</c:v>
                </c:pt>
                <c:pt idx="114">
                  <c:v>44492</c:v>
                </c:pt>
                <c:pt idx="115">
                  <c:v>44493</c:v>
                </c:pt>
                <c:pt idx="116">
                  <c:v>44494</c:v>
                </c:pt>
                <c:pt idx="117">
                  <c:v>44495</c:v>
                </c:pt>
                <c:pt idx="118">
                  <c:v>44496</c:v>
                </c:pt>
                <c:pt idx="119">
                  <c:v>44497</c:v>
                </c:pt>
                <c:pt idx="120">
                  <c:v>44498</c:v>
                </c:pt>
                <c:pt idx="121">
                  <c:v>44499</c:v>
                </c:pt>
                <c:pt idx="122">
                  <c:v>44500</c:v>
                </c:pt>
                <c:pt idx="123">
                  <c:v>44501</c:v>
                </c:pt>
                <c:pt idx="124">
                  <c:v>44502</c:v>
                </c:pt>
                <c:pt idx="125">
                  <c:v>44503</c:v>
                </c:pt>
                <c:pt idx="126">
                  <c:v>44504</c:v>
                </c:pt>
                <c:pt idx="127">
                  <c:v>44505</c:v>
                </c:pt>
                <c:pt idx="128">
                  <c:v>44506</c:v>
                </c:pt>
                <c:pt idx="129">
                  <c:v>44507</c:v>
                </c:pt>
                <c:pt idx="130">
                  <c:v>44508</c:v>
                </c:pt>
                <c:pt idx="131">
                  <c:v>44509</c:v>
                </c:pt>
                <c:pt idx="132">
                  <c:v>44510</c:v>
                </c:pt>
                <c:pt idx="133">
                  <c:v>44511</c:v>
                </c:pt>
                <c:pt idx="134">
                  <c:v>44512</c:v>
                </c:pt>
                <c:pt idx="135">
                  <c:v>44513</c:v>
                </c:pt>
                <c:pt idx="136">
                  <c:v>44514</c:v>
                </c:pt>
                <c:pt idx="137">
                  <c:v>44515</c:v>
                </c:pt>
                <c:pt idx="138">
                  <c:v>44516</c:v>
                </c:pt>
                <c:pt idx="139">
                  <c:v>44517</c:v>
                </c:pt>
                <c:pt idx="140">
                  <c:v>44518</c:v>
                </c:pt>
                <c:pt idx="141">
                  <c:v>44519</c:v>
                </c:pt>
                <c:pt idx="142">
                  <c:v>44520</c:v>
                </c:pt>
                <c:pt idx="143">
                  <c:v>44521</c:v>
                </c:pt>
                <c:pt idx="144">
                  <c:v>44522</c:v>
                </c:pt>
                <c:pt idx="145">
                  <c:v>44523</c:v>
                </c:pt>
                <c:pt idx="146">
                  <c:v>44524</c:v>
                </c:pt>
                <c:pt idx="147">
                  <c:v>44525</c:v>
                </c:pt>
                <c:pt idx="148">
                  <c:v>44526</c:v>
                </c:pt>
                <c:pt idx="149">
                  <c:v>44527</c:v>
                </c:pt>
                <c:pt idx="150">
                  <c:v>44528</c:v>
                </c:pt>
                <c:pt idx="151">
                  <c:v>44529</c:v>
                </c:pt>
                <c:pt idx="152">
                  <c:v>44530</c:v>
                </c:pt>
                <c:pt idx="153">
                  <c:v>44531</c:v>
                </c:pt>
                <c:pt idx="154">
                  <c:v>44532</c:v>
                </c:pt>
                <c:pt idx="155">
                  <c:v>44533</c:v>
                </c:pt>
              </c:numCache>
            </c:numRef>
          </c:cat>
          <c:val>
            <c:numRef>
              <c:f>'AgeDeaths (2)'!$E$2:$E$644</c:f>
              <c:numCache>
                <c:formatCode>General</c:formatCode>
                <c:ptCount val="156"/>
                <c:pt idx="0">
                  <c:v>0.11934867608303852</c:v>
                </c:pt>
                <c:pt idx="1">
                  <c:v>0.11934867608303852</c:v>
                </c:pt>
                <c:pt idx="2">
                  <c:v>0.11934867608303852</c:v>
                </c:pt>
                <c:pt idx="3">
                  <c:v>0.11934867608303852</c:v>
                </c:pt>
                <c:pt idx="4">
                  <c:v>0.11934867608303852</c:v>
                </c:pt>
                <c:pt idx="5">
                  <c:v>0.11934867608303852</c:v>
                </c:pt>
                <c:pt idx="6">
                  <c:v>0.11934867608303852</c:v>
                </c:pt>
                <c:pt idx="7">
                  <c:v>0.23869735216607704</c:v>
                </c:pt>
                <c:pt idx="8">
                  <c:v>0.23869735216607704</c:v>
                </c:pt>
                <c:pt idx="9">
                  <c:v>0.23869735216607704</c:v>
                </c:pt>
                <c:pt idx="10">
                  <c:v>0.23869735216607704</c:v>
                </c:pt>
                <c:pt idx="11">
                  <c:v>0.47739470433215409</c:v>
                </c:pt>
                <c:pt idx="12">
                  <c:v>0.47739470433215409</c:v>
                </c:pt>
                <c:pt idx="13">
                  <c:v>0.47739470433215409</c:v>
                </c:pt>
                <c:pt idx="14">
                  <c:v>0.47739470433215409</c:v>
                </c:pt>
                <c:pt idx="15">
                  <c:v>0.35804602824911552</c:v>
                </c:pt>
                <c:pt idx="16">
                  <c:v>0.35804602824911552</c:v>
                </c:pt>
                <c:pt idx="17">
                  <c:v>0.35804602824911552</c:v>
                </c:pt>
                <c:pt idx="18">
                  <c:v>0.23869735216607704</c:v>
                </c:pt>
                <c:pt idx="19">
                  <c:v>0.23869735216607704</c:v>
                </c:pt>
                <c:pt idx="20">
                  <c:v>0.23869735216607704</c:v>
                </c:pt>
                <c:pt idx="21">
                  <c:v>0.23869735216607704</c:v>
                </c:pt>
                <c:pt idx="22">
                  <c:v>0.23869735216607704</c:v>
                </c:pt>
                <c:pt idx="23">
                  <c:v>0.23869735216607704</c:v>
                </c:pt>
                <c:pt idx="24">
                  <c:v>0.23869735216607704</c:v>
                </c:pt>
                <c:pt idx="25">
                  <c:v>0.11934867608303852</c:v>
                </c:pt>
                <c:pt idx="26">
                  <c:v>0.11934867608303852</c:v>
                </c:pt>
                <c:pt idx="27">
                  <c:v>0.11934867608303852</c:v>
                </c:pt>
                <c:pt idx="28">
                  <c:v>0.23869735216607704</c:v>
                </c:pt>
                <c:pt idx="29">
                  <c:v>0.23869735216607704</c:v>
                </c:pt>
                <c:pt idx="30">
                  <c:v>0.47739470433215409</c:v>
                </c:pt>
                <c:pt idx="31">
                  <c:v>0.47739470433215409</c:v>
                </c:pt>
                <c:pt idx="32">
                  <c:v>0.59674338041519259</c:v>
                </c:pt>
                <c:pt idx="33">
                  <c:v>0.59674338041519259</c:v>
                </c:pt>
                <c:pt idx="34">
                  <c:v>0.59674338041519259</c:v>
                </c:pt>
                <c:pt idx="35">
                  <c:v>0.35804602824911552</c:v>
                </c:pt>
                <c:pt idx="36">
                  <c:v>0.35804602824911552</c:v>
                </c:pt>
                <c:pt idx="37">
                  <c:v>0.11934867608303852</c:v>
                </c:pt>
                <c:pt idx="38">
                  <c:v>0.11934867608303852</c:v>
                </c:pt>
                <c:pt idx="39">
                  <c:v>0.23869735216607704</c:v>
                </c:pt>
                <c:pt idx="40">
                  <c:v>0.23869735216607704</c:v>
                </c:pt>
                <c:pt idx="41">
                  <c:v>0.23869735216607704</c:v>
                </c:pt>
                <c:pt idx="42">
                  <c:v>0.23869735216607704</c:v>
                </c:pt>
                <c:pt idx="43">
                  <c:v>0.23869735216607704</c:v>
                </c:pt>
                <c:pt idx="44">
                  <c:v>0.35804602824911552</c:v>
                </c:pt>
                <c:pt idx="45">
                  <c:v>0.59674338041519259</c:v>
                </c:pt>
                <c:pt idx="46">
                  <c:v>0.35804602824911552</c:v>
                </c:pt>
                <c:pt idx="47">
                  <c:v>0.47739470433215409</c:v>
                </c:pt>
                <c:pt idx="48">
                  <c:v>0.59674338041519259</c:v>
                </c:pt>
                <c:pt idx="49">
                  <c:v>0.71609205649823104</c:v>
                </c:pt>
                <c:pt idx="50">
                  <c:v>0.83544073258126961</c:v>
                </c:pt>
                <c:pt idx="51">
                  <c:v>0.95478940866430817</c:v>
                </c:pt>
                <c:pt idx="52">
                  <c:v>0.83544073258126961</c:v>
                </c:pt>
                <c:pt idx="53">
                  <c:v>0.95478940866430817</c:v>
                </c:pt>
                <c:pt idx="54">
                  <c:v>1.1934867608303852</c:v>
                </c:pt>
                <c:pt idx="55">
                  <c:v>1.4321841129964621</c:v>
                </c:pt>
                <c:pt idx="56">
                  <c:v>1.6708814651625394</c:v>
                </c:pt>
                <c:pt idx="57">
                  <c:v>1.670881465162539</c:v>
                </c:pt>
                <c:pt idx="58">
                  <c:v>1.4321841129964621</c:v>
                </c:pt>
                <c:pt idx="59">
                  <c:v>1.3128354369134239</c:v>
                </c:pt>
                <c:pt idx="60">
                  <c:v>1.3128354369134239</c:v>
                </c:pt>
                <c:pt idx="61">
                  <c:v>0.95478940866430817</c:v>
                </c:pt>
                <c:pt idx="62">
                  <c:v>0.71609205649823104</c:v>
                </c:pt>
                <c:pt idx="63">
                  <c:v>0.59674338041519259</c:v>
                </c:pt>
                <c:pt idx="64">
                  <c:v>0.83544073258126961</c:v>
                </c:pt>
                <c:pt idx="65">
                  <c:v>0.83544073258126961</c:v>
                </c:pt>
                <c:pt idx="66">
                  <c:v>0.95478940866430817</c:v>
                </c:pt>
                <c:pt idx="67">
                  <c:v>0.83544073258126961</c:v>
                </c:pt>
                <c:pt idx="68">
                  <c:v>1.0741380847473467</c:v>
                </c:pt>
                <c:pt idx="69">
                  <c:v>1.0741380847473467</c:v>
                </c:pt>
                <c:pt idx="70">
                  <c:v>0.95478940866430817</c:v>
                </c:pt>
                <c:pt idx="71">
                  <c:v>0.59674338041519259</c:v>
                </c:pt>
                <c:pt idx="72">
                  <c:v>0.95478940866430817</c:v>
                </c:pt>
                <c:pt idx="73">
                  <c:v>1.0741380847473467</c:v>
                </c:pt>
                <c:pt idx="74">
                  <c:v>1.1934867608303852</c:v>
                </c:pt>
                <c:pt idx="75">
                  <c:v>1.0741380847473467</c:v>
                </c:pt>
                <c:pt idx="76">
                  <c:v>1.5515327890795005</c:v>
                </c:pt>
                <c:pt idx="77">
                  <c:v>1.7902301412455779</c:v>
                </c:pt>
                <c:pt idx="78">
                  <c:v>2.2676248455777319</c:v>
                </c:pt>
                <c:pt idx="79">
                  <c:v>2.0289274934116546</c:v>
                </c:pt>
                <c:pt idx="80">
                  <c:v>1.9095788173286163</c:v>
                </c:pt>
                <c:pt idx="81">
                  <c:v>1.9095788173286157</c:v>
                </c:pt>
                <c:pt idx="82">
                  <c:v>2.0289274934116546</c:v>
                </c:pt>
                <c:pt idx="83">
                  <c:v>1.5515327890795005</c:v>
                </c:pt>
                <c:pt idx="84">
                  <c:v>1.1934867608303852</c:v>
                </c:pt>
                <c:pt idx="85">
                  <c:v>0.95478940866430817</c:v>
                </c:pt>
                <c:pt idx="86">
                  <c:v>1.0741380847473467</c:v>
                </c:pt>
                <c:pt idx="87">
                  <c:v>0.95478940866430817</c:v>
                </c:pt>
                <c:pt idx="88">
                  <c:v>1.1934867608303852</c:v>
                </c:pt>
                <c:pt idx="89">
                  <c:v>1.0741380847473467</c:v>
                </c:pt>
                <c:pt idx="90">
                  <c:v>1.0741380847473467</c:v>
                </c:pt>
                <c:pt idx="91">
                  <c:v>1.4321841129964621</c:v>
                </c:pt>
                <c:pt idx="92">
                  <c:v>1.5515327890795005</c:v>
                </c:pt>
                <c:pt idx="93">
                  <c:v>1.6708814651625394</c:v>
                </c:pt>
                <c:pt idx="94">
                  <c:v>2.028927493411655</c:v>
                </c:pt>
                <c:pt idx="95">
                  <c:v>1.6708814651625394</c:v>
                </c:pt>
                <c:pt idx="96">
                  <c:v>2.148276169494693</c:v>
                </c:pt>
                <c:pt idx="97">
                  <c:v>2.2676248455777315</c:v>
                </c:pt>
                <c:pt idx="98">
                  <c:v>2.0289274934116546</c:v>
                </c:pt>
                <c:pt idx="99">
                  <c:v>1.6708814651625394</c:v>
                </c:pt>
                <c:pt idx="100">
                  <c:v>1.3128354369134239</c:v>
                </c:pt>
                <c:pt idx="101">
                  <c:v>1.5515327890795005</c:v>
                </c:pt>
                <c:pt idx="102">
                  <c:v>1.5515327890795005</c:v>
                </c:pt>
                <c:pt idx="103">
                  <c:v>1.5515327890795005</c:v>
                </c:pt>
                <c:pt idx="104">
                  <c:v>1.6708814651625394</c:v>
                </c:pt>
                <c:pt idx="105">
                  <c:v>2.148276169494693</c:v>
                </c:pt>
                <c:pt idx="106">
                  <c:v>2.5063221977438088</c:v>
                </c:pt>
                <c:pt idx="107">
                  <c:v>2.6256708738268473</c:v>
                </c:pt>
                <c:pt idx="108">
                  <c:v>2.2676248455777315</c:v>
                </c:pt>
                <c:pt idx="109">
                  <c:v>2.2676248455777315</c:v>
                </c:pt>
                <c:pt idx="110">
                  <c:v>2.1482761694946935</c:v>
                </c:pt>
                <c:pt idx="111">
                  <c:v>1.9095788173286163</c:v>
                </c:pt>
                <c:pt idx="112">
                  <c:v>1.4321841129964621</c:v>
                </c:pt>
                <c:pt idx="113">
                  <c:v>1.1934867608303852</c:v>
                </c:pt>
                <c:pt idx="114">
                  <c:v>1.4321841129964621</c:v>
                </c:pt>
                <c:pt idx="115">
                  <c:v>1.4321841129964621</c:v>
                </c:pt>
                <c:pt idx="116">
                  <c:v>1.7902301412455779</c:v>
                </c:pt>
                <c:pt idx="117">
                  <c:v>1.4321841129964621</c:v>
                </c:pt>
                <c:pt idx="118">
                  <c:v>2.1482761694946935</c:v>
                </c:pt>
                <c:pt idx="119">
                  <c:v>2.3869735216607704</c:v>
                </c:pt>
                <c:pt idx="120">
                  <c:v>2.9837169020759626</c:v>
                </c:pt>
                <c:pt idx="121">
                  <c:v>2.9837169020759631</c:v>
                </c:pt>
                <c:pt idx="122">
                  <c:v>3.5804602824911562</c:v>
                </c:pt>
                <c:pt idx="123">
                  <c:v>4.4159010150724258</c:v>
                </c:pt>
                <c:pt idx="124">
                  <c:v>4.7739470433215416</c:v>
                </c:pt>
                <c:pt idx="125">
                  <c:v>4.2965523389893869</c:v>
                </c:pt>
                <c:pt idx="126">
                  <c:v>4.5352496911554629</c:v>
                </c:pt>
                <c:pt idx="127">
                  <c:v>4.4159010150724249</c:v>
                </c:pt>
                <c:pt idx="128">
                  <c:v>4.5352496911554629</c:v>
                </c:pt>
                <c:pt idx="129">
                  <c:v>4.296552338989386</c:v>
                </c:pt>
                <c:pt idx="130">
                  <c:v>3.4611116064081169</c:v>
                </c:pt>
                <c:pt idx="131">
                  <c:v>3.8191576346572327</c:v>
                </c:pt>
                <c:pt idx="132">
                  <c:v>3.5804602824911558</c:v>
                </c:pt>
                <c:pt idx="133">
                  <c:v>3.2224142542420395</c:v>
                </c:pt>
                <c:pt idx="134">
                  <c:v>3.4611116064081173</c:v>
                </c:pt>
                <c:pt idx="135">
                  <c:v>2.9837169020759626</c:v>
                </c:pt>
                <c:pt idx="136">
                  <c:v>2.5063221977438088</c:v>
                </c:pt>
                <c:pt idx="137">
                  <c:v>2.7450195499098853</c:v>
                </c:pt>
                <c:pt idx="138">
                  <c:v>2.2676248455777319</c:v>
                </c:pt>
                <c:pt idx="139">
                  <c:v>2.3869735216607708</c:v>
                </c:pt>
                <c:pt idx="140">
                  <c:v>2.7450195499098862</c:v>
                </c:pt>
                <c:pt idx="141">
                  <c:v>2.2676248455777319</c:v>
                </c:pt>
                <c:pt idx="142">
                  <c:v>2.6256708738268477</c:v>
                </c:pt>
                <c:pt idx="143">
                  <c:v>3.2224142542420404</c:v>
                </c:pt>
                <c:pt idx="144">
                  <c:v>2.9837169020759631</c:v>
                </c:pt>
                <c:pt idx="145">
                  <c:v>3.5804602824911553</c:v>
                </c:pt>
                <c:pt idx="146">
                  <c:v>3.8191576346572327</c:v>
                </c:pt>
                <c:pt idx="147">
                  <c:v>3.8191576346572327</c:v>
                </c:pt>
                <c:pt idx="148">
                  <c:v>3.8191576346572327</c:v>
                </c:pt>
                <c:pt idx="149">
                  <c:v>3.5804602824911553</c:v>
                </c:pt>
                <c:pt idx="150">
                  <c:v>2.9837169020759626</c:v>
                </c:pt>
                <c:pt idx="151">
                  <c:v>3.2224142542420395</c:v>
                </c:pt>
                <c:pt idx="152">
                  <c:v>2.8643682259929237</c:v>
                </c:pt>
                <c:pt idx="153">
                  <c:v>2.6256708738268477</c:v>
                </c:pt>
                <c:pt idx="154">
                  <c:v>2.2676248455777319</c:v>
                </c:pt>
                <c:pt idx="155">
                  <c:v>2.02892749341165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DFDA-43C6-A408-AE988A7E0E40}"/>
            </c:ext>
          </c:extLst>
        </c:ser>
        <c:ser>
          <c:idx val="4"/>
          <c:order val="4"/>
          <c:tx>
            <c:strRef>
              <c:f>'AgeDeaths (2)'!$F$1</c:f>
              <c:strCache>
                <c:ptCount val="1"/>
                <c:pt idx="0">
                  <c:v>50-59</c:v>
                </c:pt>
              </c:strCache>
            </c:strRef>
          </c:tx>
          <c:spPr>
            <a:ln w="28575" cap="rnd">
              <a:solidFill>
                <a:srgbClr val="AAE6F0"/>
              </a:solidFill>
              <a:prstDash val="dash"/>
              <a:round/>
            </a:ln>
            <a:effectLst/>
          </c:spPr>
          <c:marker>
            <c:symbol val="none"/>
          </c:marker>
          <c:cat>
            <c:numRef>
              <c:f>'AgeDeaths (2)'!$A$2:$A$644</c:f>
              <c:numCache>
                <c:formatCode>m/d;@</c:formatCode>
                <c:ptCount val="156"/>
                <c:pt idx="0">
                  <c:v>44378</c:v>
                </c:pt>
                <c:pt idx="1">
                  <c:v>44379</c:v>
                </c:pt>
                <c:pt idx="2">
                  <c:v>44380</c:v>
                </c:pt>
                <c:pt idx="3">
                  <c:v>44381</c:v>
                </c:pt>
                <c:pt idx="4">
                  <c:v>44382</c:v>
                </c:pt>
                <c:pt idx="5">
                  <c:v>44383</c:v>
                </c:pt>
                <c:pt idx="6">
                  <c:v>44384</c:v>
                </c:pt>
                <c:pt idx="7">
                  <c:v>44385</c:v>
                </c:pt>
                <c:pt idx="8">
                  <c:v>44386</c:v>
                </c:pt>
                <c:pt idx="9">
                  <c:v>44387</c:v>
                </c:pt>
                <c:pt idx="10">
                  <c:v>44388</c:v>
                </c:pt>
                <c:pt idx="11">
                  <c:v>44389</c:v>
                </c:pt>
                <c:pt idx="12">
                  <c:v>44390</c:v>
                </c:pt>
                <c:pt idx="13">
                  <c:v>44391</c:v>
                </c:pt>
                <c:pt idx="14">
                  <c:v>44392</c:v>
                </c:pt>
                <c:pt idx="15">
                  <c:v>44393</c:v>
                </c:pt>
                <c:pt idx="16">
                  <c:v>44394</c:v>
                </c:pt>
                <c:pt idx="17">
                  <c:v>44395</c:v>
                </c:pt>
                <c:pt idx="18">
                  <c:v>44396</c:v>
                </c:pt>
                <c:pt idx="19">
                  <c:v>44397</c:v>
                </c:pt>
                <c:pt idx="20">
                  <c:v>44398</c:v>
                </c:pt>
                <c:pt idx="21">
                  <c:v>44399</c:v>
                </c:pt>
                <c:pt idx="22">
                  <c:v>44400</c:v>
                </c:pt>
                <c:pt idx="23">
                  <c:v>44401</c:v>
                </c:pt>
                <c:pt idx="24">
                  <c:v>44402</c:v>
                </c:pt>
                <c:pt idx="25">
                  <c:v>44403</c:v>
                </c:pt>
                <c:pt idx="26">
                  <c:v>44404</c:v>
                </c:pt>
                <c:pt idx="27">
                  <c:v>44405</c:v>
                </c:pt>
                <c:pt idx="28">
                  <c:v>44406</c:v>
                </c:pt>
                <c:pt idx="29">
                  <c:v>44407</c:v>
                </c:pt>
                <c:pt idx="30">
                  <c:v>44408</c:v>
                </c:pt>
                <c:pt idx="31">
                  <c:v>44409</c:v>
                </c:pt>
                <c:pt idx="32">
                  <c:v>44410</c:v>
                </c:pt>
                <c:pt idx="33">
                  <c:v>44411</c:v>
                </c:pt>
                <c:pt idx="34">
                  <c:v>44412</c:v>
                </c:pt>
                <c:pt idx="35">
                  <c:v>44413</c:v>
                </c:pt>
                <c:pt idx="36">
                  <c:v>44414</c:v>
                </c:pt>
                <c:pt idx="37">
                  <c:v>44415</c:v>
                </c:pt>
                <c:pt idx="38">
                  <c:v>44416</c:v>
                </c:pt>
                <c:pt idx="39">
                  <c:v>44417</c:v>
                </c:pt>
                <c:pt idx="40">
                  <c:v>44418</c:v>
                </c:pt>
                <c:pt idx="41">
                  <c:v>44419</c:v>
                </c:pt>
                <c:pt idx="42">
                  <c:v>44420</c:v>
                </c:pt>
                <c:pt idx="43">
                  <c:v>44421</c:v>
                </c:pt>
                <c:pt idx="44">
                  <c:v>44422</c:v>
                </c:pt>
                <c:pt idx="45">
                  <c:v>44423</c:v>
                </c:pt>
                <c:pt idx="46">
                  <c:v>44424</c:v>
                </c:pt>
                <c:pt idx="47">
                  <c:v>44425</c:v>
                </c:pt>
                <c:pt idx="48">
                  <c:v>44426</c:v>
                </c:pt>
                <c:pt idx="49">
                  <c:v>44427</c:v>
                </c:pt>
                <c:pt idx="50">
                  <c:v>44428</c:v>
                </c:pt>
                <c:pt idx="51">
                  <c:v>44429</c:v>
                </c:pt>
                <c:pt idx="52">
                  <c:v>44430</c:v>
                </c:pt>
                <c:pt idx="53">
                  <c:v>44431</c:v>
                </c:pt>
                <c:pt idx="54">
                  <c:v>44432</c:v>
                </c:pt>
                <c:pt idx="55">
                  <c:v>44433</c:v>
                </c:pt>
                <c:pt idx="56">
                  <c:v>44434</c:v>
                </c:pt>
                <c:pt idx="57">
                  <c:v>44435</c:v>
                </c:pt>
                <c:pt idx="58">
                  <c:v>44436</c:v>
                </c:pt>
                <c:pt idx="59">
                  <c:v>44437</c:v>
                </c:pt>
                <c:pt idx="60">
                  <c:v>44438</c:v>
                </c:pt>
                <c:pt idx="61">
                  <c:v>44439</c:v>
                </c:pt>
                <c:pt idx="62">
                  <c:v>44440</c:v>
                </c:pt>
                <c:pt idx="63">
                  <c:v>44441</c:v>
                </c:pt>
                <c:pt idx="64">
                  <c:v>44442</c:v>
                </c:pt>
                <c:pt idx="65">
                  <c:v>44443</c:v>
                </c:pt>
                <c:pt idx="66">
                  <c:v>44444</c:v>
                </c:pt>
                <c:pt idx="67">
                  <c:v>44445</c:v>
                </c:pt>
                <c:pt idx="68">
                  <c:v>44446</c:v>
                </c:pt>
                <c:pt idx="69">
                  <c:v>44447</c:v>
                </c:pt>
                <c:pt idx="70">
                  <c:v>44448</c:v>
                </c:pt>
                <c:pt idx="71">
                  <c:v>44449</c:v>
                </c:pt>
                <c:pt idx="72">
                  <c:v>44450</c:v>
                </c:pt>
                <c:pt idx="73">
                  <c:v>44451</c:v>
                </c:pt>
                <c:pt idx="74">
                  <c:v>44452</c:v>
                </c:pt>
                <c:pt idx="75">
                  <c:v>44453</c:v>
                </c:pt>
                <c:pt idx="76">
                  <c:v>44454</c:v>
                </c:pt>
                <c:pt idx="77">
                  <c:v>44455</c:v>
                </c:pt>
                <c:pt idx="78">
                  <c:v>44456</c:v>
                </c:pt>
                <c:pt idx="79">
                  <c:v>44457</c:v>
                </c:pt>
                <c:pt idx="80">
                  <c:v>44458</c:v>
                </c:pt>
                <c:pt idx="81">
                  <c:v>44459</c:v>
                </c:pt>
                <c:pt idx="82">
                  <c:v>44460</c:v>
                </c:pt>
                <c:pt idx="83">
                  <c:v>44461</c:v>
                </c:pt>
                <c:pt idx="84">
                  <c:v>44462</c:v>
                </c:pt>
                <c:pt idx="85">
                  <c:v>44463</c:v>
                </c:pt>
                <c:pt idx="86">
                  <c:v>44464</c:v>
                </c:pt>
                <c:pt idx="87">
                  <c:v>44465</c:v>
                </c:pt>
                <c:pt idx="88">
                  <c:v>44466</c:v>
                </c:pt>
                <c:pt idx="89">
                  <c:v>44467</c:v>
                </c:pt>
                <c:pt idx="90">
                  <c:v>44468</c:v>
                </c:pt>
                <c:pt idx="91">
                  <c:v>44469</c:v>
                </c:pt>
                <c:pt idx="92">
                  <c:v>44470</c:v>
                </c:pt>
                <c:pt idx="93">
                  <c:v>44471</c:v>
                </c:pt>
                <c:pt idx="94">
                  <c:v>44472</c:v>
                </c:pt>
                <c:pt idx="95">
                  <c:v>44473</c:v>
                </c:pt>
                <c:pt idx="96">
                  <c:v>44474</c:v>
                </c:pt>
                <c:pt idx="97">
                  <c:v>44475</c:v>
                </c:pt>
                <c:pt idx="98">
                  <c:v>44476</c:v>
                </c:pt>
                <c:pt idx="99">
                  <c:v>44477</c:v>
                </c:pt>
                <c:pt idx="100">
                  <c:v>44478</c:v>
                </c:pt>
                <c:pt idx="101">
                  <c:v>44479</c:v>
                </c:pt>
                <c:pt idx="102">
                  <c:v>44480</c:v>
                </c:pt>
                <c:pt idx="103">
                  <c:v>44481</c:v>
                </c:pt>
                <c:pt idx="104">
                  <c:v>44482</c:v>
                </c:pt>
                <c:pt idx="105">
                  <c:v>44483</c:v>
                </c:pt>
                <c:pt idx="106">
                  <c:v>44484</c:v>
                </c:pt>
                <c:pt idx="107">
                  <c:v>44485</c:v>
                </c:pt>
                <c:pt idx="108">
                  <c:v>44486</c:v>
                </c:pt>
                <c:pt idx="109">
                  <c:v>44487</c:v>
                </c:pt>
                <c:pt idx="110">
                  <c:v>44488</c:v>
                </c:pt>
                <c:pt idx="111">
                  <c:v>44489</c:v>
                </c:pt>
                <c:pt idx="112">
                  <c:v>44490</c:v>
                </c:pt>
                <c:pt idx="113">
                  <c:v>44491</c:v>
                </c:pt>
                <c:pt idx="114">
                  <c:v>44492</c:v>
                </c:pt>
                <c:pt idx="115">
                  <c:v>44493</c:v>
                </c:pt>
                <c:pt idx="116">
                  <c:v>44494</c:v>
                </c:pt>
                <c:pt idx="117">
                  <c:v>44495</c:v>
                </c:pt>
                <c:pt idx="118">
                  <c:v>44496</c:v>
                </c:pt>
                <c:pt idx="119">
                  <c:v>44497</c:v>
                </c:pt>
                <c:pt idx="120">
                  <c:v>44498</c:v>
                </c:pt>
                <c:pt idx="121">
                  <c:v>44499</c:v>
                </c:pt>
                <c:pt idx="122">
                  <c:v>44500</c:v>
                </c:pt>
                <c:pt idx="123">
                  <c:v>44501</c:v>
                </c:pt>
                <c:pt idx="124">
                  <c:v>44502</c:v>
                </c:pt>
                <c:pt idx="125">
                  <c:v>44503</c:v>
                </c:pt>
                <c:pt idx="126">
                  <c:v>44504</c:v>
                </c:pt>
                <c:pt idx="127">
                  <c:v>44505</c:v>
                </c:pt>
                <c:pt idx="128">
                  <c:v>44506</c:v>
                </c:pt>
                <c:pt idx="129">
                  <c:v>44507</c:v>
                </c:pt>
                <c:pt idx="130">
                  <c:v>44508</c:v>
                </c:pt>
                <c:pt idx="131">
                  <c:v>44509</c:v>
                </c:pt>
                <c:pt idx="132">
                  <c:v>44510</c:v>
                </c:pt>
                <c:pt idx="133">
                  <c:v>44511</c:v>
                </c:pt>
                <c:pt idx="134">
                  <c:v>44512</c:v>
                </c:pt>
                <c:pt idx="135">
                  <c:v>44513</c:v>
                </c:pt>
                <c:pt idx="136">
                  <c:v>44514</c:v>
                </c:pt>
                <c:pt idx="137">
                  <c:v>44515</c:v>
                </c:pt>
                <c:pt idx="138">
                  <c:v>44516</c:v>
                </c:pt>
                <c:pt idx="139">
                  <c:v>44517</c:v>
                </c:pt>
                <c:pt idx="140">
                  <c:v>44518</c:v>
                </c:pt>
                <c:pt idx="141">
                  <c:v>44519</c:v>
                </c:pt>
                <c:pt idx="142">
                  <c:v>44520</c:v>
                </c:pt>
                <c:pt idx="143">
                  <c:v>44521</c:v>
                </c:pt>
                <c:pt idx="144">
                  <c:v>44522</c:v>
                </c:pt>
                <c:pt idx="145">
                  <c:v>44523</c:v>
                </c:pt>
                <c:pt idx="146">
                  <c:v>44524</c:v>
                </c:pt>
                <c:pt idx="147">
                  <c:v>44525</c:v>
                </c:pt>
                <c:pt idx="148">
                  <c:v>44526</c:v>
                </c:pt>
                <c:pt idx="149">
                  <c:v>44527</c:v>
                </c:pt>
                <c:pt idx="150">
                  <c:v>44528</c:v>
                </c:pt>
                <c:pt idx="151">
                  <c:v>44529</c:v>
                </c:pt>
                <c:pt idx="152">
                  <c:v>44530</c:v>
                </c:pt>
                <c:pt idx="153">
                  <c:v>44531</c:v>
                </c:pt>
                <c:pt idx="154">
                  <c:v>44532</c:v>
                </c:pt>
                <c:pt idx="155">
                  <c:v>44533</c:v>
                </c:pt>
              </c:numCache>
            </c:numRef>
          </c:cat>
          <c:val>
            <c:numRef>
              <c:f>'AgeDeaths (2)'!$F$2:$F$644</c:f>
              <c:numCache>
                <c:formatCode>General</c:formatCode>
                <c:ptCount val="156"/>
                <c:pt idx="0">
                  <c:v>0.51686574267611574</c:v>
                </c:pt>
                <c:pt idx="1">
                  <c:v>0.51686574267611574</c:v>
                </c:pt>
                <c:pt idx="2">
                  <c:v>0.51686574267611574</c:v>
                </c:pt>
                <c:pt idx="3">
                  <c:v>0.51686574267611574</c:v>
                </c:pt>
                <c:pt idx="4">
                  <c:v>0.41349259414089262</c:v>
                </c:pt>
                <c:pt idx="5">
                  <c:v>0.62023889121133891</c:v>
                </c:pt>
                <c:pt idx="6">
                  <c:v>0.72361203974656207</c:v>
                </c:pt>
                <c:pt idx="7">
                  <c:v>0.62023889121133891</c:v>
                </c:pt>
                <c:pt idx="8">
                  <c:v>0.72361203974656207</c:v>
                </c:pt>
                <c:pt idx="9">
                  <c:v>0.72361203974656207</c:v>
                </c:pt>
                <c:pt idx="10">
                  <c:v>0.62023889121133891</c:v>
                </c:pt>
                <c:pt idx="11">
                  <c:v>0.72361203974656196</c:v>
                </c:pt>
                <c:pt idx="12">
                  <c:v>0.51686574267611574</c:v>
                </c:pt>
                <c:pt idx="13">
                  <c:v>0.41349259414089262</c:v>
                </c:pt>
                <c:pt idx="14">
                  <c:v>0.41349259414089262</c:v>
                </c:pt>
                <c:pt idx="15">
                  <c:v>0.20674629707044631</c:v>
                </c:pt>
                <c:pt idx="16">
                  <c:v>0.31011944560566945</c:v>
                </c:pt>
                <c:pt idx="17">
                  <c:v>0.31011944560566945</c:v>
                </c:pt>
                <c:pt idx="18">
                  <c:v>0.20674629707044631</c:v>
                </c:pt>
                <c:pt idx="19">
                  <c:v>0.20674629707044631</c:v>
                </c:pt>
                <c:pt idx="20">
                  <c:v>0.20674629707044631</c:v>
                </c:pt>
                <c:pt idx="21">
                  <c:v>0.31011944560566945</c:v>
                </c:pt>
                <c:pt idx="22">
                  <c:v>0.41349259414089262</c:v>
                </c:pt>
                <c:pt idx="23">
                  <c:v>0.41349259414089262</c:v>
                </c:pt>
                <c:pt idx="24">
                  <c:v>0.41349259414089262</c:v>
                </c:pt>
                <c:pt idx="25">
                  <c:v>0.41349259414089262</c:v>
                </c:pt>
                <c:pt idx="26">
                  <c:v>0.72361203974656207</c:v>
                </c:pt>
                <c:pt idx="27">
                  <c:v>0.72361203974656196</c:v>
                </c:pt>
                <c:pt idx="28">
                  <c:v>0.82698518828178524</c:v>
                </c:pt>
                <c:pt idx="29">
                  <c:v>0.93035833681700841</c:v>
                </c:pt>
                <c:pt idx="30">
                  <c:v>0.82698518828178536</c:v>
                </c:pt>
                <c:pt idx="31">
                  <c:v>0.82698518828178536</c:v>
                </c:pt>
                <c:pt idx="32">
                  <c:v>0.93035833681700841</c:v>
                </c:pt>
                <c:pt idx="33">
                  <c:v>0.82698518828178524</c:v>
                </c:pt>
                <c:pt idx="34">
                  <c:v>0.72361203974656207</c:v>
                </c:pt>
                <c:pt idx="35">
                  <c:v>0.51686574267611574</c:v>
                </c:pt>
                <c:pt idx="36">
                  <c:v>0.31011944560566945</c:v>
                </c:pt>
                <c:pt idx="37">
                  <c:v>0.31011944560566945</c:v>
                </c:pt>
                <c:pt idx="38">
                  <c:v>0.51686574267611574</c:v>
                </c:pt>
                <c:pt idx="39">
                  <c:v>0.62023889121133891</c:v>
                </c:pt>
                <c:pt idx="40">
                  <c:v>0.72361203974656207</c:v>
                </c:pt>
                <c:pt idx="41">
                  <c:v>0.72361203974656207</c:v>
                </c:pt>
                <c:pt idx="42">
                  <c:v>0.72361203974656207</c:v>
                </c:pt>
                <c:pt idx="43">
                  <c:v>0.82698518828178524</c:v>
                </c:pt>
                <c:pt idx="44">
                  <c:v>1.0337314853522315</c:v>
                </c:pt>
                <c:pt idx="45">
                  <c:v>0.9303583368170083</c:v>
                </c:pt>
                <c:pt idx="46">
                  <c:v>1.0337314853522315</c:v>
                </c:pt>
                <c:pt idx="47">
                  <c:v>0.72361203974656207</c:v>
                </c:pt>
                <c:pt idx="48">
                  <c:v>0.72361203974656207</c:v>
                </c:pt>
                <c:pt idx="49">
                  <c:v>1.1371046338874549</c:v>
                </c:pt>
                <c:pt idx="50">
                  <c:v>1.2404777824226778</c:v>
                </c:pt>
                <c:pt idx="51">
                  <c:v>1.3438509309579012</c:v>
                </c:pt>
                <c:pt idx="52">
                  <c:v>1.4472240794931241</c:v>
                </c:pt>
                <c:pt idx="53">
                  <c:v>1.4472240794931241</c:v>
                </c:pt>
                <c:pt idx="54">
                  <c:v>1.6539703765635705</c:v>
                </c:pt>
                <c:pt idx="55">
                  <c:v>1.8607166736340166</c:v>
                </c:pt>
                <c:pt idx="56">
                  <c:v>2.0674629707044629</c:v>
                </c:pt>
                <c:pt idx="57">
                  <c:v>2.1708361192396866</c:v>
                </c:pt>
                <c:pt idx="58">
                  <c:v>2.0674629707044629</c:v>
                </c:pt>
                <c:pt idx="59">
                  <c:v>2.2742092677749093</c:v>
                </c:pt>
                <c:pt idx="60">
                  <c:v>2.3775824163101325</c:v>
                </c:pt>
                <c:pt idx="61">
                  <c:v>2.2742092677749097</c:v>
                </c:pt>
                <c:pt idx="62">
                  <c:v>2.4809555648453561</c:v>
                </c:pt>
                <c:pt idx="63">
                  <c:v>2.0674629707044629</c:v>
                </c:pt>
                <c:pt idx="64">
                  <c:v>2.0674629707044629</c:v>
                </c:pt>
                <c:pt idx="65">
                  <c:v>2.2742092677749093</c:v>
                </c:pt>
                <c:pt idx="66">
                  <c:v>2.2742092677749097</c:v>
                </c:pt>
                <c:pt idx="67">
                  <c:v>2.2742092677749097</c:v>
                </c:pt>
                <c:pt idx="68">
                  <c:v>2.3775824163101329</c:v>
                </c:pt>
                <c:pt idx="69">
                  <c:v>2.3775824163101325</c:v>
                </c:pt>
                <c:pt idx="70">
                  <c:v>2.2742092677749097</c:v>
                </c:pt>
                <c:pt idx="71">
                  <c:v>2.1708361192396861</c:v>
                </c:pt>
                <c:pt idx="72">
                  <c:v>2.2742092677749097</c:v>
                </c:pt>
                <c:pt idx="73">
                  <c:v>2.1708361192396861</c:v>
                </c:pt>
                <c:pt idx="74">
                  <c:v>2.2742092677749097</c:v>
                </c:pt>
                <c:pt idx="75">
                  <c:v>2.4809555648453556</c:v>
                </c:pt>
                <c:pt idx="76">
                  <c:v>2.6877018619158024</c:v>
                </c:pt>
                <c:pt idx="77">
                  <c:v>2.9978213075214719</c:v>
                </c:pt>
                <c:pt idx="78">
                  <c:v>3.1011944560566951</c:v>
                </c:pt>
                <c:pt idx="79">
                  <c:v>2.9978213075214719</c:v>
                </c:pt>
                <c:pt idx="80">
                  <c:v>2.8944481589862483</c:v>
                </c:pt>
                <c:pt idx="81">
                  <c:v>2.5843287133805792</c:v>
                </c:pt>
                <c:pt idx="82">
                  <c:v>2.2742092677749093</c:v>
                </c:pt>
                <c:pt idx="83">
                  <c:v>2.0674629707044629</c:v>
                </c:pt>
                <c:pt idx="84">
                  <c:v>2.5843287133805792</c:v>
                </c:pt>
                <c:pt idx="85">
                  <c:v>2.7910750104510251</c:v>
                </c:pt>
                <c:pt idx="86">
                  <c:v>2.5843287133805788</c:v>
                </c:pt>
                <c:pt idx="87">
                  <c:v>2.8944481589862483</c:v>
                </c:pt>
                <c:pt idx="88">
                  <c:v>3.2045676045919178</c:v>
                </c:pt>
                <c:pt idx="89">
                  <c:v>3.61806019873281</c:v>
                </c:pt>
                <c:pt idx="90">
                  <c:v>3.61806019873281</c:v>
                </c:pt>
                <c:pt idx="91">
                  <c:v>2.997821307521471</c:v>
                </c:pt>
                <c:pt idx="92">
                  <c:v>2.997821307521471</c:v>
                </c:pt>
                <c:pt idx="93">
                  <c:v>3.6180601987328105</c:v>
                </c:pt>
                <c:pt idx="94">
                  <c:v>3.2045676045919183</c:v>
                </c:pt>
                <c:pt idx="95">
                  <c:v>3.307940753127141</c:v>
                </c:pt>
                <c:pt idx="96">
                  <c:v>3.307940753127141</c:v>
                </c:pt>
                <c:pt idx="97">
                  <c:v>3.5146870501975873</c:v>
                </c:pt>
                <c:pt idx="98">
                  <c:v>4.2382990899441495</c:v>
                </c:pt>
                <c:pt idx="99">
                  <c:v>4.1349259414089259</c:v>
                </c:pt>
                <c:pt idx="100">
                  <c:v>4.0315527928737032</c:v>
                </c:pt>
                <c:pt idx="101">
                  <c:v>4.1349259414089259</c:v>
                </c:pt>
                <c:pt idx="102">
                  <c:v>4.0315527928737032</c:v>
                </c:pt>
                <c:pt idx="103">
                  <c:v>4.4450453870145958</c:v>
                </c:pt>
                <c:pt idx="104">
                  <c:v>4.4450453870145958</c:v>
                </c:pt>
                <c:pt idx="105">
                  <c:v>3.8248064958032564</c:v>
                </c:pt>
                <c:pt idx="106">
                  <c:v>4.0315527928737032</c:v>
                </c:pt>
                <c:pt idx="107">
                  <c:v>3.8248064958032564</c:v>
                </c:pt>
                <c:pt idx="108">
                  <c:v>3.92817964433848</c:v>
                </c:pt>
                <c:pt idx="109">
                  <c:v>4.3416722384793731</c:v>
                </c:pt>
                <c:pt idx="110">
                  <c:v>4.2382990899441504</c:v>
                </c:pt>
                <c:pt idx="111">
                  <c:v>4.2382990899441495</c:v>
                </c:pt>
                <c:pt idx="112">
                  <c:v>4.5484185355498195</c:v>
                </c:pt>
                <c:pt idx="113">
                  <c:v>4.7551648326202658</c:v>
                </c:pt>
                <c:pt idx="114">
                  <c:v>4.9619111296907112</c:v>
                </c:pt>
                <c:pt idx="115">
                  <c:v>5.4787768723668275</c:v>
                </c:pt>
                <c:pt idx="116">
                  <c:v>5.4787768723668275</c:v>
                </c:pt>
                <c:pt idx="117">
                  <c:v>5.0652842782259357</c:v>
                </c:pt>
                <c:pt idx="118">
                  <c:v>5.1686574267611576</c:v>
                </c:pt>
                <c:pt idx="119">
                  <c:v>4.9619111296907121</c:v>
                </c:pt>
                <c:pt idx="120">
                  <c:v>4.6517916840850422</c:v>
                </c:pt>
                <c:pt idx="121">
                  <c:v>4.3416722384793722</c:v>
                </c:pt>
                <c:pt idx="122">
                  <c:v>3.8248064958032564</c:v>
                </c:pt>
                <c:pt idx="123">
                  <c:v>2.9978213075214719</c:v>
                </c:pt>
                <c:pt idx="124">
                  <c:v>3.307940753127141</c:v>
                </c:pt>
                <c:pt idx="125">
                  <c:v>2.997821307521471</c:v>
                </c:pt>
                <c:pt idx="126">
                  <c:v>3.4113139016623641</c:v>
                </c:pt>
                <c:pt idx="127">
                  <c:v>3.4113139016623641</c:v>
                </c:pt>
                <c:pt idx="128">
                  <c:v>3.6180601987328105</c:v>
                </c:pt>
                <c:pt idx="129">
                  <c:v>3.92817964433848</c:v>
                </c:pt>
                <c:pt idx="130">
                  <c:v>4.5484185355498186</c:v>
                </c:pt>
                <c:pt idx="131">
                  <c:v>4.4450453870145958</c:v>
                </c:pt>
                <c:pt idx="132">
                  <c:v>4.5484185355498186</c:v>
                </c:pt>
                <c:pt idx="133">
                  <c:v>4.1349259414089259</c:v>
                </c:pt>
                <c:pt idx="134">
                  <c:v>3.7214333472680337</c:v>
                </c:pt>
                <c:pt idx="135">
                  <c:v>3.92817964433848</c:v>
                </c:pt>
                <c:pt idx="136">
                  <c:v>3.8248064958032564</c:v>
                </c:pt>
                <c:pt idx="137">
                  <c:v>3.7214333472680337</c:v>
                </c:pt>
                <c:pt idx="138">
                  <c:v>3.7214333472680332</c:v>
                </c:pt>
                <c:pt idx="139">
                  <c:v>4.1349259414089259</c:v>
                </c:pt>
                <c:pt idx="140">
                  <c:v>4.3416722384793731</c:v>
                </c:pt>
                <c:pt idx="141">
                  <c:v>5.2720305752963812</c:v>
                </c:pt>
                <c:pt idx="142">
                  <c:v>5.9956426150429438</c:v>
                </c:pt>
                <c:pt idx="143">
                  <c:v>6.5125083577190583</c:v>
                </c:pt>
                <c:pt idx="144">
                  <c:v>6.9260009518599519</c:v>
                </c:pt>
                <c:pt idx="145">
                  <c:v>7.1327472489303974</c:v>
                </c:pt>
                <c:pt idx="146">
                  <c:v>6.8226278033247283</c:v>
                </c:pt>
                <c:pt idx="147">
                  <c:v>6.7192546547895047</c:v>
                </c:pt>
                <c:pt idx="148">
                  <c:v>6.9260009518599519</c:v>
                </c:pt>
                <c:pt idx="149">
                  <c:v>5.9956426150429438</c:v>
                </c:pt>
                <c:pt idx="150">
                  <c:v>6.0990157635781665</c:v>
                </c:pt>
                <c:pt idx="151">
                  <c:v>6.4091352091838365</c:v>
                </c:pt>
                <c:pt idx="152">
                  <c:v>6.5125083577190583</c:v>
                </c:pt>
                <c:pt idx="153">
                  <c:v>6.3057620606486129</c:v>
                </c:pt>
                <c:pt idx="154">
                  <c:v>6.615881506254282</c:v>
                </c:pt>
                <c:pt idx="155">
                  <c:v>5.37540372383160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FDA-43C6-A408-AE988A7E0E40}"/>
            </c:ext>
          </c:extLst>
        </c:ser>
        <c:ser>
          <c:idx val="5"/>
          <c:order val="5"/>
          <c:tx>
            <c:strRef>
              <c:f>'AgeDeaths (2)'!$G$1</c:f>
              <c:strCache>
                <c:ptCount val="1"/>
                <c:pt idx="0">
                  <c:v>60-69</c:v>
                </c:pt>
              </c:strCache>
            </c:strRef>
          </c:tx>
          <c:spPr>
            <a:ln w="28575" cap="rnd">
              <a:solidFill>
                <a:srgbClr val="4D4D4D"/>
              </a:solidFill>
              <a:prstDash val="dash"/>
              <a:round/>
            </a:ln>
            <a:effectLst/>
          </c:spPr>
          <c:marker>
            <c:symbol val="none"/>
          </c:marker>
          <c:cat>
            <c:numRef>
              <c:f>'AgeDeaths (2)'!$A$2:$A$644</c:f>
              <c:numCache>
                <c:formatCode>m/d;@</c:formatCode>
                <c:ptCount val="156"/>
                <c:pt idx="0">
                  <c:v>44378</c:v>
                </c:pt>
                <c:pt idx="1">
                  <c:v>44379</c:v>
                </c:pt>
                <c:pt idx="2">
                  <c:v>44380</c:v>
                </c:pt>
                <c:pt idx="3">
                  <c:v>44381</c:v>
                </c:pt>
                <c:pt idx="4">
                  <c:v>44382</c:v>
                </c:pt>
                <c:pt idx="5">
                  <c:v>44383</c:v>
                </c:pt>
                <c:pt idx="6">
                  <c:v>44384</c:v>
                </c:pt>
                <c:pt idx="7">
                  <c:v>44385</c:v>
                </c:pt>
                <c:pt idx="8">
                  <c:v>44386</c:v>
                </c:pt>
                <c:pt idx="9">
                  <c:v>44387</c:v>
                </c:pt>
                <c:pt idx="10">
                  <c:v>44388</c:v>
                </c:pt>
                <c:pt idx="11">
                  <c:v>44389</c:v>
                </c:pt>
                <c:pt idx="12">
                  <c:v>44390</c:v>
                </c:pt>
                <c:pt idx="13">
                  <c:v>44391</c:v>
                </c:pt>
                <c:pt idx="14">
                  <c:v>44392</c:v>
                </c:pt>
                <c:pt idx="15">
                  <c:v>44393</c:v>
                </c:pt>
                <c:pt idx="16">
                  <c:v>44394</c:v>
                </c:pt>
                <c:pt idx="17">
                  <c:v>44395</c:v>
                </c:pt>
                <c:pt idx="18">
                  <c:v>44396</c:v>
                </c:pt>
                <c:pt idx="19">
                  <c:v>44397</c:v>
                </c:pt>
                <c:pt idx="20">
                  <c:v>44398</c:v>
                </c:pt>
                <c:pt idx="21">
                  <c:v>44399</c:v>
                </c:pt>
                <c:pt idx="22">
                  <c:v>44400</c:v>
                </c:pt>
                <c:pt idx="23">
                  <c:v>44401</c:v>
                </c:pt>
                <c:pt idx="24">
                  <c:v>44402</c:v>
                </c:pt>
                <c:pt idx="25">
                  <c:v>44403</c:v>
                </c:pt>
                <c:pt idx="26">
                  <c:v>44404</c:v>
                </c:pt>
                <c:pt idx="27">
                  <c:v>44405</c:v>
                </c:pt>
                <c:pt idx="28">
                  <c:v>44406</c:v>
                </c:pt>
                <c:pt idx="29">
                  <c:v>44407</c:v>
                </c:pt>
                <c:pt idx="30">
                  <c:v>44408</c:v>
                </c:pt>
                <c:pt idx="31">
                  <c:v>44409</c:v>
                </c:pt>
                <c:pt idx="32">
                  <c:v>44410</c:v>
                </c:pt>
                <c:pt idx="33">
                  <c:v>44411</c:v>
                </c:pt>
                <c:pt idx="34">
                  <c:v>44412</c:v>
                </c:pt>
                <c:pt idx="35">
                  <c:v>44413</c:v>
                </c:pt>
                <c:pt idx="36">
                  <c:v>44414</c:v>
                </c:pt>
                <c:pt idx="37">
                  <c:v>44415</c:v>
                </c:pt>
                <c:pt idx="38">
                  <c:v>44416</c:v>
                </c:pt>
                <c:pt idx="39">
                  <c:v>44417</c:v>
                </c:pt>
                <c:pt idx="40">
                  <c:v>44418</c:v>
                </c:pt>
                <c:pt idx="41">
                  <c:v>44419</c:v>
                </c:pt>
                <c:pt idx="42">
                  <c:v>44420</c:v>
                </c:pt>
                <c:pt idx="43">
                  <c:v>44421</c:v>
                </c:pt>
                <c:pt idx="44">
                  <c:v>44422</c:v>
                </c:pt>
                <c:pt idx="45">
                  <c:v>44423</c:v>
                </c:pt>
                <c:pt idx="46">
                  <c:v>44424</c:v>
                </c:pt>
                <c:pt idx="47">
                  <c:v>44425</c:v>
                </c:pt>
                <c:pt idx="48">
                  <c:v>44426</c:v>
                </c:pt>
                <c:pt idx="49">
                  <c:v>44427</c:v>
                </c:pt>
                <c:pt idx="50">
                  <c:v>44428</c:v>
                </c:pt>
                <c:pt idx="51">
                  <c:v>44429</c:v>
                </c:pt>
                <c:pt idx="52">
                  <c:v>44430</c:v>
                </c:pt>
                <c:pt idx="53">
                  <c:v>44431</c:v>
                </c:pt>
                <c:pt idx="54">
                  <c:v>44432</c:v>
                </c:pt>
                <c:pt idx="55">
                  <c:v>44433</c:v>
                </c:pt>
                <c:pt idx="56">
                  <c:v>44434</c:v>
                </c:pt>
                <c:pt idx="57">
                  <c:v>44435</c:v>
                </c:pt>
                <c:pt idx="58">
                  <c:v>44436</c:v>
                </c:pt>
                <c:pt idx="59">
                  <c:v>44437</c:v>
                </c:pt>
                <c:pt idx="60">
                  <c:v>44438</c:v>
                </c:pt>
                <c:pt idx="61">
                  <c:v>44439</c:v>
                </c:pt>
                <c:pt idx="62">
                  <c:v>44440</c:v>
                </c:pt>
                <c:pt idx="63">
                  <c:v>44441</c:v>
                </c:pt>
                <c:pt idx="64">
                  <c:v>44442</c:v>
                </c:pt>
                <c:pt idx="65">
                  <c:v>44443</c:v>
                </c:pt>
                <c:pt idx="66">
                  <c:v>44444</c:v>
                </c:pt>
                <c:pt idx="67">
                  <c:v>44445</c:v>
                </c:pt>
                <c:pt idx="68">
                  <c:v>44446</c:v>
                </c:pt>
                <c:pt idx="69">
                  <c:v>44447</c:v>
                </c:pt>
                <c:pt idx="70">
                  <c:v>44448</c:v>
                </c:pt>
                <c:pt idx="71">
                  <c:v>44449</c:v>
                </c:pt>
                <c:pt idx="72">
                  <c:v>44450</c:v>
                </c:pt>
                <c:pt idx="73">
                  <c:v>44451</c:v>
                </c:pt>
                <c:pt idx="74">
                  <c:v>44452</c:v>
                </c:pt>
                <c:pt idx="75">
                  <c:v>44453</c:v>
                </c:pt>
                <c:pt idx="76">
                  <c:v>44454</c:v>
                </c:pt>
                <c:pt idx="77">
                  <c:v>44455</c:v>
                </c:pt>
                <c:pt idx="78">
                  <c:v>44456</c:v>
                </c:pt>
                <c:pt idx="79">
                  <c:v>44457</c:v>
                </c:pt>
                <c:pt idx="80">
                  <c:v>44458</c:v>
                </c:pt>
                <c:pt idx="81">
                  <c:v>44459</c:v>
                </c:pt>
                <c:pt idx="82">
                  <c:v>44460</c:v>
                </c:pt>
                <c:pt idx="83">
                  <c:v>44461</c:v>
                </c:pt>
                <c:pt idx="84">
                  <c:v>44462</c:v>
                </c:pt>
                <c:pt idx="85">
                  <c:v>44463</c:v>
                </c:pt>
                <c:pt idx="86">
                  <c:v>44464</c:v>
                </c:pt>
                <c:pt idx="87">
                  <c:v>44465</c:v>
                </c:pt>
                <c:pt idx="88">
                  <c:v>44466</c:v>
                </c:pt>
                <c:pt idx="89">
                  <c:v>44467</c:v>
                </c:pt>
                <c:pt idx="90">
                  <c:v>44468</c:v>
                </c:pt>
                <c:pt idx="91">
                  <c:v>44469</c:v>
                </c:pt>
                <c:pt idx="92">
                  <c:v>44470</c:v>
                </c:pt>
                <c:pt idx="93">
                  <c:v>44471</c:v>
                </c:pt>
                <c:pt idx="94">
                  <c:v>44472</c:v>
                </c:pt>
                <c:pt idx="95">
                  <c:v>44473</c:v>
                </c:pt>
                <c:pt idx="96">
                  <c:v>44474</c:v>
                </c:pt>
                <c:pt idx="97">
                  <c:v>44475</c:v>
                </c:pt>
                <c:pt idx="98">
                  <c:v>44476</c:v>
                </c:pt>
                <c:pt idx="99">
                  <c:v>44477</c:v>
                </c:pt>
                <c:pt idx="100">
                  <c:v>44478</c:v>
                </c:pt>
                <c:pt idx="101">
                  <c:v>44479</c:v>
                </c:pt>
                <c:pt idx="102">
                  <c:v>44480</c:v>
                </c:pt>
                <c:pt idx="103">
                  <c:v>44481</c:v>
                </c:pt>
                <c:pt idx="104">
                  <c:v>44482</c:v>
                </c:pt>
                <c:pt idx="105">
                  <c:v>44483</c:v>
                </c:pt>
                <c:pt idx="106">
                  <c:v>44484</c:v>
                </c:pt>
                <c:pt idx="107">
                  <c:v>44485</c:v>
                </c:pt>
                <c:pt idx="108">
                  <c:v>44486</c:v>
                </c:pt>
                <c:pt idx="109">
                  <c:v>44487</c:v>
                </c:pt>
                <c:pt idx="110">
                  <c:v>44488</c:v>
                </c:pt>
                <c:pt idx="111">
                  <c:v>44489</c:v>
                </c:pt>
                <c:pt idx="112">
                  <c:v>44490</c:v>
                </c:pt>
                <c:pt idx="113">
                  <c:v>44491</c:v>
                </c:pt>
                <c:pt idx="114">
                  <c:v>44492</c:v>
                </c:pt>
                <c:pt idx="115">
                  <c:v>44493</c:v>
                </c:pt>
                <c:pt idx="116">
                  <c:v>44494</c:v>
                </c:pt>
                <c:pt idx="117">
                  <c:v>44495</c:v>
                </c:pt>
                <c:pt idx="118">
                  <c:v>44496</c:v>
                </c:pt>
                <c:pt idx="119">
                  <c:v>44497</c:v>
                </c:pt>
                <c:pt idx="120">
                  <c:v>44498</c:v>
                </c:pt>
                <c:pt idx="121">
                  <c:v>44499</c:v>
                </c:pt>
                <c:pt idx="122">
                  <c:v>44500</c:v>
                </c:pt>
                <c:pt idx="123">
                  <c:v>44501</c:v>
                </c:pt>
                <c:pt idx="124">
                  <c:v>44502</c:v>
                </c:pt>
                <c:pt idx="125">
                  <c:v>44503</c:v>
                </c:pt>
                <c:pt idx="126">
                  <c:v>44504</c:v>
                </c:pt>
                <c:pt idx="127">
                  <c:v>44505</c:v>
                </c:pt>
                <c:pt idx="128">
                  <c:v>44506</c:v>
                </c:pt>
                <c:pt idx="129">
                  <c:v>44507</c:v>
                </c:pt>
                <c:pt idx="130">
                  <c:v>44508</c:v>
                </c:pt>
                <c:pt idx="131">
                  <c:v>44509</c:v>
                </c:pt>
                <c:pt idx="132">
                  <c:v>44510</c:v>
                </c:pt>
                <c:pt idx="133">
                  <c:v>44511</c:v>
                </c:pt>
                <c:pt idx="134">
                  <c:v>44512</c:v>
                </c:pt>
                <c:pt idx="135">
                  <c:v>44513</c:v>
                </c:pt>
                <c:pt idx="136">
                  <c:v>44514</c:v>
                </c:pt>
                <c:pt idx="137">
                  <c:v>44515</c:v>
                </c:pt>
                <c:pt idx="138">
                  <c:v>44516</c:v>
                </c:pt>
                <c:pt idx="139">
                  <c:v>44517</c:v>
                </c:pt>
                <c:pt idx="140">
                  <c:v>44518</c:v>
                </c:pt>
                <c:pt idx="141">
                  <c:v>44519</c:v>
                </c:pt>
                <c:pt idx="142">
                  <c:v>44520</c:v>
                </c:pt>
                <c:pt idx="143">
                  <c:v>44521</c:v>
                </c:pt>
                <c:pt idx="144">
                  <c:v>44522</c:v>
                </c:pt>
                <c:pt idx="145">
                  <c:v>44523</c:v>
                </c:pt>
                <c:pt idx="146">
                  <c:v>44524</c:v>
                </c:pt>
                <c:pt idx="147">
                  <c:v>44525</c:v>
                </c:pt>
                <c:pt idx="148">
                  <c:v>44526</c:v>
                </c:pt>
                <c:pt idx="149">
                  <c:v>44527</c:v>
                </c:pt>
                <c:pt idx="150">
                  <c:v>44528</c:v>
                </c:pt>
                <c:pt idx="151">
                  <c:v>44529</c:v>
                </c:pt>
                <c:pt idx="152">
                  <c:v>44530</c:v>
                </c:pt>
                <c:pt idx="153">
                  <c:v>44531</c:v>
                </c:pt>
                <c:pt idx="154">
                  <c:v>44532</c:v>
                </c:pt>
                <c:pt idx="155">
                  <c:v>44533</c:v>
                </c:pt>
              </c:numCache>
            </c:numRef>
          </c:cat>
          <c:val>
            <c:numRef>
              <c:f>'AgeDeaths (2)'!$G$2:$G$644</c:f>
              <c:numCache>
                <c:formatCode>General</c:formatCode>
                <c:ptCount val="156"/>
                <c:pt idx="0">
                  <c:v>1.7057854442598785</c:v>
                </c:pt>
                <c:pt idx="1">
                  <c:v>1.5920664146425529</c:v>
                </c:pt>
                <c:pt idx="2">
                  <c:v>1.3646283554079026</c:v>
                </c:pt>
                <c:pt idx="3">
                  <c:v>1.2509093257905775</c:v>
                </c:pt>
                <c:pt idx="4">
                  <c:v>1.0234712665559269</c:v>
                </c:pt>
                <c:pt idx="5">
                  <c:v>0.90975223693860185</c:v>
                </c:pt>
                <c:pt idx="6">
                  <c:v>0.90975223693860185</c:v>
                </c:pt>
                <c:pt idx="7">
                  <c:v>0.45487611846930093</c:v>
                </c:pt>
                <c:pt idx="8">
                  <c:v>0.45487611846930093</c:v>
                </c:pt>
                <c:pt idx="9">
                  <c:v>0.56859514808662615</c:v>
                </c:pt>
                <c:pt idx="10">
                  <c:v>0.79603320732127669</c:v>
                </c:pt>
                <c:pt idx="11">
                  <c:v>0.90975223693860185</c:v>
                </c:pt>
                <c:pt idx="12">
                  <c:v>0.90975223693860185</c:v>
                </c:pt>
                <c:pt idx="13">
                  <c:v>0.79603320732127669</c:v>
                </c:pt>
                <c:pt idx="14">
                  <c:v>1.1371902961732523</c:v>
                </c:pt>
                <c:pt idx="15">
                  <c:v>1.0234712665559269</c:v>
                </c:pt>
                <c:pt idx="16">
                  <c:v>0.90975223693860185</c:v>
                </c:pt>
                <c:pt idx="17">
                  <c:v>0.68231417770395131</c:v>
                </c:pt>
                <c:pt idx="18">
                  <c:v>0.56859514808662615</c:v>
                </c:pt>
                <c:pt idx="19">
                  <c:v>0.68231417770395131</c:v>
                </c:pt>
                <c:pt idx="20">
                  <c:v>0.56859514808662615</c:v>
                </c:pt>
                <c:pt idx="21">
                  <c:v>0.22743805923465046</c:v>
                </c:pt>
                <c:pt idx="22">
                  <c:v>0.34115708885197565</c:v>
                </c:pt>
                <c:pt idx="23">
                  <c:v>0.45487611846930093</c:v>
                </c:pt>
                <c:pt idx="24">
                  <c:v>0.56859514808662615</c:v>
                </c:pt>
                <c:pt idx="25">
                  <c:v>0.79603320732127669</c:v>
                </c:pt>
                <c:pt idx="26">
                  <c:v>0.79603320732127669</c:v>
                </c:pt>
                <c:pt idx="27">
                  <c:v>0.90975223693860185</c:v>
                </c:pt>
                <c:pt idx="28">
                  <c:v>0.90975223693860185</c:v>
                </c:pt>
                <c:pt idx="29">
                  <c:v>1.0234712665559271</c:v>
                </c:pt>
                <c:pt idx="30">
                  <c:v>0.90975223693860185</c:v>
                </c:pt>
                <c:pt idx="31">
                  <c:v>0.79603320732127669</c:v>
                </c:pt>
                <c:pt idx="32">
                  <c:v>0.90975223693860185</c:v>
                </c:pt>
                <c:pt idx="33">
                  <c:v>1.1371902961732523</c:v>
                </c:pt>
                <c:pt idx="34">
                  <c:v>1.1371902961732521</c:v>
                </c:pt>
                <c:pt idx="35">
                  <c:v>1.3646283554079026</c:v>
                </c:pt>
                <c:pt idx="36">
                  <c:v>1.2509093257905775</c:v>
                </c:pt>
                <c:pt idx="37">
                  <c:v>1.7057854442598785</c:v>
                </c:pt>
                <c:pt idx="38">
                  <c:v>1.9332235034945289</c:v>
                </c:pt>
                <c:pt idx="39">
                  <c:v>1.7057854442598785</c:v>
                </c:pt>
                <c:pt idx="40">
                  <c:v>1.5920664146425527</c:v>
                </c:pt>
                <c:pt idx="41">
                  <c:v>1.9332235034945291</c:v>
                </c:pt>
                <c:pt idx="42">
                  <c:v>1.7057854442598785</c:v>
                </c:pt>
                <c:pt idx="43">
                  <c:v>2.2743805923465046</c:v>
                </c:pt>
                <c:pt idx="44">
                  <c:v>2.0469425331118538</c:v>
                </c:pt>
                <c:pt idx="45">
                  <c:v>2.1606615627291794</c:v>
                </c:pt>
                <c:pt idx="46">
                  <c:v>2.7292567108158052</c:v>
                </c:pt>
                <c:pt idx="47">
                  <c:v>2.7292567108158052</c:v>
                </c:pt>
                <c:pt idx="48">
                  <c:v>2.3880996219638293</c:v>
                </c:pt>
                <c:pt idx="49">
                  <c:v>2.5018186515811545</c:v>
                </c:pt>
                <c:pt idx="50">
                  <c:v>1.8195044738772037</c:v>
                </c:pt>
                <c:pt idx="51">
                  <c:v>1.5920664146425527</c:v>
                </c:pt>
                <c:pt idx="52">
                  <c:v>1.5920664146425529</c:v>
                </c:pt>
                <c:pt idx="53">
                  <c:v>0.90975223693860185</c:v>
                </c:pt>
                <c:pt idx="54">
                  <c:v>1.2509093257905775</c:v>
                </c:pt>
                <c:pt idx="55">
                  <c:v>1.5920664146425534</c:v>
                </c:pt>
                <c:pt idx="56">
                  <c:v>1.9332235034945289</c:v>
                </c:pt>
                <c:pt idx="57">
                  <c:v>2.160661562729179</c:v>
                </c:pt>
                <c:pt idx="58">
                  <c:v>2.6155376811984801</c:v>
                </c:pt>
                <c:pt idx="59">
                  <c:v>2.9566947700504556</c:v>
                </c:pt>
                <c:pt idx="60">
                  <c:v>3.1841328292851059</c:v>
                </c:pt>
                <c:pt idx="61">
                  <c:v>2.8429757404331299</c:v>
                </c:pt>
                <c:pt idx="62">
                  <c:v>2.8429757404331304</c:v>
                </c:pt>
                <c:pt idx="63">
                  <c:v>3.2978518589024319</c:v>
                </c:pt>
                <c:pt idx="64">
                  <c:v>3.8664470069890582</c:v>
                </c:pt>
                <c:pt idx="65">
                  <c:v>3.7527279773717326</c:v>
                </c:pt>
                <c:pt idx="66">
                  <c:v>3.7527279773717326</c:v>
                </c:pt>
                <c:pt idx="67">
                  <c:v>3.7527279773717326</c:v>
                </c:pt>
                <c:pt idx="68">
                  <c:v>4.0938850662237085</c:v>
                </c:pt>
                <c:pt idx="69">
                  <c:v>4.2076040958410337</c:v>
                </c:pt>
                <c:pt idx="70">
                  <c:v>4.2076040958410337</c:v>
                </c:pt>
                <c:pt idx="71">
                  <c:v>3.8664470069890577</c:v>
                </c:pt>
                <c:pt idx="72">
                  <c:v>4.2076040958410328</c:v>
                </c:pt>
                <c:pt idx="73">
                  <c:v>3.8664470069890577</c:v>
                </c:pt>
                <c:pt idx="74">
                  <c:v>4.435042155075684</c:v>
                </c:pt>
                <c:pt idx="75">
                  <c:v>4.5487611846930092</c:v>
                </c:pt>
                <c:pt idx="76">
                  <c:v>4.8899182735449847</c:v>
                </c:pt>
                <c:pt idx="77">
                  <c:v>4.8899182735449847</c:v>
                </c:pt>
                <c:pt idx="78">
                  <c:v>5.3447943920142853</c:v>
                </c:pt>
                <c:pt idx="79">
                  <c:v>5.6859514808662608</c:v>
                </c:pt>
                <c:pt idx="80">
                  <c:v>6.1408275993355632</c:v>
                </c:pt>
                <c:pt idx="81">
                  <c:v>5.6859514808662608</c:v>
                </c:pt>
                <c:pt idx="82">
                  <c:v>5.9133895401009129</c:v>
                </c:pt>
                <c:pt idx="83">
                  <c:v>5.4585134216316096</c:v>
                </c:pt>
                <c:pt idx="84">
                  <c:v>5.4585134216316105</c:v>
                </c:pt>
                <c:pt idx="85">
                  <c:v>4.8899182735449847</c:v>
                </c:pt>
                <c:pt idx="86">
                  <c:v>4.5487611846930092</c:v>
                </c:pt>
                <c:pt idx="87">
                  <c:v>4.5487611846930092</c:v>
                </c:pt>
                <c:pt idx="88">
                  <c:v>5.0036373031623098</c:v>
                </c:pt>
                <c:pt idx="89">
                  <c:v>5.2310753623969601</c:v>
                </c:pt>
                <c:pt idx="90">
                  <c:v>5.5722324512489365</c:v>
                </c:pt>
                <c:pt idx="91">
                  <c:v>5.117356332779635</c:v>
                </c:pt>
                <c:pt idx="92">
                  <c:v>5.7996705104835868</c:v>
                </c:pt>
                <c:pt idx="93">
                  <c:v>5.5722324512489365</c:v>
                </c:pt>
                <c:pt idx="94">
                  <c:v>5.5722324512489365</c:v>
                </c:pt>
                <c:pt idx="95">
                  <c:v>5.6859514808662608</c:v>
                </c:pt>
                <c:pt idx="96">
                  <c:v>5.3447943920142853</c:v>
                </c:pt>
                <c:pt idx="97">
                  <c:v>5.5722324512489365</c:v>
                </c:pt>
                <c:pt idx="98">
                  <c:v>6.0271085697182372</c:v>
                </c:pt>
                <c:pt idx="99">
                  <c:v>6.2545466289528875</c:v>
                </c:pt>
                <c:pt idx="100">
                  <c:v>6.5957037178048639</c:v>
                </c:pt>
                <c:pt idx="101">
                  <c:v>6.5957037178048639</c:v>
                </c:pt>
                <c:pt idx="102">
                  <c:v>7.2780178955088148</c:v>
                </c:pt>
                <c:pt idx="103">
                  <c:v>7.2780178955088148</c:v>
                </c:pt>
                <c:pt idx="104">
                  <c:v>7.1642988658914897</c:v>
                </c:pt>
                <c:pt idx="105">
                  <c:v>7.0505798362741627</c:v>
                </c:pt>
                <c:pt idx="106">
                  <c:v>7.6191749843607894</c:v>
                </c:pt>
                <c:pt idx="107">
                  <c:v>7.8466130435954407</c:v>
                </c:pt>
                <c:pt idx="108">
                  <c:v>8.6426462509167177</c:v>
                </c:pt>
                <c:pt idx="109">
                  <c:v>8.6426462509167177</c:v>
                </c:pt>
                <c:pt idx="110">
                  <c:v>8.870084310151368</c:v>
                </c:pt>
                <c:pt idx="111">
                  <c:v>9.8935555767072945</c:v>
                </c:pt>
                <c:pt idx="112">
                  <c:v>10.348431695176597</c:v>
                </c:pt>
                <c:pt idx="113">
                  <c:v>9.8935555767072962</c:v>
                </c:pt>
                <c:pt idx="114">
                  <c:v>9.8935555767072962</c:v>
                </c:pt>
                <c:pt idx="115">
                  <c:v>9.4386794582379956</c:v>
                </c:pt>
                <c:pt idx="116">
                  <c:v>9.4386794582379956</c:v>
                </c:pt>
                <c:pt idx="117">
                  <c:v>10.00727460632462</c:v>
                </c:pt>
                <c:pt idx="118">
                  <c:v>9.7798365470899693</c:v>
                </c:pt>
                <c:pt idx="119">
                  <c:v>9.6661175174726441</c:v>
                </c:pt>
                <c:pt idx="120">
                  <c:v>9.2112413990033435</c:v>
                </c:pt>
                <c:pt idx="121">
                  <c:v>8.9838033397686932</c:v>
                </c:pt>
                <c:pt idx="122">
                  <c:v>9.2112413990033417</c:v>
                </c:pt>
                <c:pt idx="123">
                  <c:v>8.4152081916820674</c:v>
                </c:pt>
                <c:pt idx="124">
                  <c:v>8.4152081916820674</c:v>
                </c:pt>
                <c:pt idx="125">
                  <c:v>7.0505798362741654</c:v>
                </c:pt>
                <c:pt idx="126">
                  <c:v>6.9368608066568394</c:v>
                </c:pt>
                <c:pt idx="127">
                  <c:v>6.709422747422189</c:v>
                </c:pt>
                <c:pt idx="128">
                  <c:v>7.0505798362741645</c:v>
                </c:pt>
                <c:pt idx="129">
                  <c:v>7.2780178955088148</c:v>
                </c:pt>
                <c:pt idx="130">
                  <c:v>8.4152081916820674</c:v>
                </c:pt>
                <c:pt idx="131">
                  <c:v>8.0740511028300919</c:v>
                </c:pt>
                <c:pt idx="132">
                  <c:v>9.4386794582379938</c:v>
                </c:pt>
                <c:pt idx="133">
                  <c:v>9.552398487855319</c:v>
                </c:pt>
                <c:pt idx="134">
                  <c:v>9.3249604286206687</c:v>
                </c:pt>
                <c:pt idx="135">
                  <c:v>10.348431695176595</c:v>
                </c:pt>
                <c:pt idx="136">
                  <c:v>10.689588784028571</c:v>
                </c:pt>
                <c:pt idx="137">
                  <c:v>10.575869754411245</c:v>
                </c:pt>
                <c:pt idx="138">
                  <c:v>11.030745872880548</c:v>
                </c:pt>
                <c:pt idx="139">
                  <c:v>10.803307813645898</c:v>
                </c:pt>
                <c:pt idx="140">
                  <c:v>11.258183932115198</c:v>
                </c:pt>
                <c:pt idx="141">
                  <c:v>12.281655198671126</c:v>
                </c:pt>
                <c:pt idx="142">
                  <c:v>11.940498109819149</c:v>
                </c:pt>
                <c:pt idx="143">
                  <c:v>11.940498109819149</c:v>
                </c:pt>
                <c:pt idx="144">
                  <c:v>12.281655198671123</c:v>
                </c:pt>
                <c:pt idx="145">
                  <c:v>12.736531317140424</c:v>
                </c:pt>
                <c:pt idx="146">
                  <c:v>13.191407435609728</c:v>
                </c:pt>
                <c:pt idx="147">
                  <c:v>12.622812287523102</c:v>
                </c:pt>
                <c:pt idx="148">
                  <c:v>13.760002583696352</c:v>
                </c:pt>
                <c:pt idx="149">
                  <c:v>13.873721613313679</c:v>
                </c:pt>
                <c:pt idx="150">
                  <c:v>13.873721613313679</c:v>
                </c:pt>
                <c:pt idx="151">
                  <c:v>13.418845494844376</c:v>
                </c:pt>
                <c:pt idx="152">
                  <c:v>13.077688405992401</c:v>
                </c:pt>
                <c:pt idx="153">
                  <c:v>12.85025034675775</c:v>
                </c:pt>
                <c:pt idx="154">
                  <c:v>12.281655198671126</c:v>
                </c:pt>
                <c:pt idx="155">
                  <c:v>9.77983654708997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DFDA-43C6-A408-AE988A7E0E40}"/>
            </c:ext>
          </c:extLst>
        </c:ser>
        <c:ser>
          <c:idx val="6"/>
          <c:order val="6"/>
          <c:tx>
            <c:strRef>
              <c:f>'AgeDeaths (2)'!$H$1</c:f>
              <c:strCache>
                <c:ptCount val="1"/>
                <c:pt idx="0">
                  <c:v>70-79</c:v>
                </c:pt>
              </c:strCache>
            </c:strRef>
          </c:tx>
          <c:spPr>
            <a:ln w="28575" cap="rnd">
              <a:solidFill>
                <a:srgbClr val="FF9999"/>
              </a:solidFill>
              <a:prstDash val="lgDash"/>
              <a:round/>
            </a:ln>
            <a:effectLst/>
          </c:spPr>
          <c:marker>
            <c:symbol val="none"/>
          </c:marker>
          <c:cat>
            <c:numRef>
              <c:f>'AgeDeaths (2)'!$A$2:$A$644</c:f>
              <c:numCache>
                <c:formatCode>m/d;@</c:formatCode>
                <c:ptCount val="156"/>
                <c:pt idx="0">
                  <c:v>44378</c:v>
                </c:pt>
                <c:pt idx="1">
                  <c:v>44379</c:v>
                </c:pt>
                <c:pt idx="2">
                  <c:v>44380</c:v>
                </c:pt>
                <c:pt idx="3">
                  <c:v>44381</c:v>
                </c:pt>
                <c:pt idx="4">
                  <c:v>44382</c:v>
                </c:pt>
                <c:pt idx="5">
                  <c:v>44383</c:v>
                </c:pt>
                <c:pt idx="6">
                  <c:v>44384</c:v>
                </c:pt>
                <c:pt idx="7">
                  <c:v>44385</c:v>
                </c:pt>
                <c:pt idx="8">
                  <c:v>44386</c:v>
                </c:pt>
                <c:pt idx="9">
                  <c:v>44387</c:v>
                </c:pt>
                <c:pt idx="10">
                  <c:v>44388</c:v>
                </c:pt>
                <c:pt idx="11">
                  <c:v>44389</c:v>
                </c:pt>
                <c:pt idx="12">
                  <c:v>44390</c:v>
                </c:pt>
                <c:pt idx="13">
                  <c:v>44391</c:v>
                </c:pt>
                <c:pt idx="14">
                  <c:v>44392</c:v>
                </c:pt>
                <c:pt idx="15">
                  <c:v>44393</c:v>
                </c:pt>
                <c:pt idx="16">
                  <c:v>44394</c:v>
                </c:pt>
                <c:pt idx="17">
                  <c:v>44395</c:v>
                </c:pt>
                <c:pt idx="18">
                  <c:v>44396</c:v>
                </c:pt>
                <c:pt idx="19">
                  <c:v>44397</c:v>
                </c:pt>
                <c:pt idx="20">
                  <c:v>44398</c:v>
                </c:pt>
                <c:pt idx="21">
                  <c:v>44399</c:v>
                </c:pt>
                <c:pt idx="22">
                  <c:v>44400</c:v>
                </c:pt>
                <c:pt idx="23">
                  <c:v>44401</c:v>
                </c:pt>
                <c:pt idx="24">
                  <c:v>44402</c:v>
                </c:pt>
                <c:pt idx="25">
                  <c:v>44403</c:v>
                </c:pt>
                <c:pt idx="26">
                  <c:v>44404</c:v>
                </c:pt>
                <c:pt idx="27">
                  <c:v>44405</c:v>
                </c:pt>
                <c:pt idx="28">
                  <c:v>44406</c:v>
                </c:pt>
                <c:pt idx="29">
                  <c:v>44407</c:v>
                </c:pt>
                <c:pt idx="30">
                  <c:v>44408</c:v>
                </c:pt>
                <c:pt idx="31">
                  <c:v>44409</c:v>
                </c:pt>
                <c:pt idx="32">
                  <c:v>44410</c:v>
                </c:pt>
                <c:pt idx="33">
                  <c:v>44411</c:v>
                </c:pt>
                <c:pt idx="34">
                  <c:v>44412</c:v>
                </c:pt>
                <c:pt idx="35">
                  <c:v>44413</c:v>
                </c:pt>
                <c:pt idx="36">
                  <c:v>44414</c:v>
                </c:pt>
                <c:pt idx="37">
                  <c:v>44415</c:v>
                </c:pt>
                <c:pt idx="38">
                  <c:v>44416</c:v>
                </c:pt>
                <c:pt idx="39">
                  <c:v>44417</c:v>
                </c:pt>
                <c:pt idx="40">
                  <c:v>44418</c:v>
                </c:pt>
                <c:pt idx="41">
                  <c:v>44419</c:v>
                </c:pt>
                <c:pt idx="42">
                  <c:v>44420</c:v>
                </c:pt>
                <c:pt idx="43">
                  <c:v>44421</c:v>
                </c:pt>
                <c:pt idx="44">
                  <c:v>44422</c:v>
                </c:pt>
                <c:pt idx="45">
                  <c:v>44423</c:v>
                </c:pt>
                <c:pt idx="46">
                  <c:v>44424</c:v>
                </c:pt>
                <c:pt idx="47">
                  <c:v>44425</c:v>
                </c:pt>
                <c:pt idx="48">
                  <c:v>44426</c:v>
                </c:pt>
                <c:pt idx="49">
                  <c:v>44427</c:v>
                </c:pt>
                <c:pt idx="50">
                  <c:v>44428</c:v>
                </c:pt>
                <c:pt idx="51">
                  <c:v>44429</c:v>
                </c:pt>
                <c:pt idx="52">
                  <c:v>44430</c:v>
                </c:pt>
                <c:pt idx="53">
                  <c:v>44431</c:v>
                </c:pt>
                <c:pt idx="54">
                  <c:v>44432</c:v>
                </c:pt>
                <c:pt idx="55">
                  <c:v>44433</c:v>
                </c:pt>
                <c:pt idx="56">
                  <c:v>44434</c:v>
                </c:pt>
                <c:pt idx="57">
                  <c:v>44435</c:v>
                </c:pt>
                <c:pt idx="58">
                  <c:v>44436</c:v>
                </c:pt>
                <c:pt idx="59">
                  <c:v>44437</c:v>
                </c:pt>
                <c:pt idx="60">
                  <c:v>44438</c:v>
                </c:pt>
                <c:pt idx="61">
                  <c:v>44439</c:v>
                </c:pt>
                <c:pt idx="62">
                  <c:v>44440</c:v>
                </c:pt>
                <c:pt idx="63">
                  <c:v>44441</c:v>
                </c:pt>
                <c:pt idx="64">
                  <c:v>44442</c:v>
                </c:pt>
                <c:pt idx="65">
                  <c:v>44443</c:v>
                </c:pt>
                <c:pt idx="66">
                  <c:v>44444</c:v>
                </c:pt>
                <c:pt idx="67">
                  <c:v>44445</c:v>
                </c:pt>
                <c:pt idx="68">
                  <c:v>44446</c:v>
                </c:pt>
                <c:pt idx="69">
                  <c:v>44447</c:v>
                </c:pt>
                <c:pt idx="70">
                  <c:v>44448</c:v>
                </c:pt>
                <c:pt idx="71">
                  <c:v>44449</c:v>
                </c:pt>
                <c:pt idx="72">
                  <c:v>44450</c:v>
                </c:pt>
                <c:pt idx="73">
                  <c:v>44451</c:v>
                </c:pt>
                <c:pt idx="74">
                  <c:v>44452</c:v>
                </c:pt>
                <c:pt idx="75">
                  <c:v>44453</c:v>
                </c:pt>
                <c:pt idx="76">
                  <c:v>44454</c:v>
                </c:pt>
                <c:pt idx="77">
                  <c:v>44455</c:v>
                </c:pt>
                <c:pt idx="78">
                  <c:v>44456</c:v>
                </c:pt>
                <c:pt idx="79">
                  <c:v>44457</c:v>
                </c:pt>
                <c:pt idx="80">
                  <c:v>44458</c:v>
                </c:pt>
                <c:pt idx="81">
                  <c:v>44459</c:v>
                </c:pt>
                <c:pt idx="82">
                  <c:v>44460</c:v>
                </c:pt>
                <c:pt idx="83">
                  <c:v>44461</c:v>
                </c:pt>
                <c:pt idx="84">
                  <c:v>44462</c:v>
                </c:pt>
                <c:pt idx="85">
                  <c:v>44463</c:v>
                </c:pt>
                <c:pt idx="86">
                  <c:v>44464</c:v>
                </c:pt>
                <c:pt idx="87">
                  <c:v>44465</c:v>
                </c:pt>
                <c:pt idx="88">
                  <c:v>44466</c:v>
                </c:pt>
                <c:pt idx="89">
                  <c:v>44467</c:v>
                </c:pt>
                <c:pt idx="90">
                  <c:v>44468</c:v>
                </c:pt>
                <c:pt idx="91">
                  <c:v>44469</c:v>
                </c:pt>
                <c:pt idx="92">
                  <c:v>44470</c:v>
                </c:pt>
                <c:pt idx="93">
                  <c:v>44471</c:v>
                </c:pt>
                <c:pt idx="94">
                  <c:v>44472</c:v>
                </c:pt>
                <c:pt idx="95">
                  <c:v>44473</c:v>
                </c:pt>
                <c:pt idx="96">
                  <c:v>44474</c:v>
                </c:pt>
                <c:pt idx="97">
                  <c:v>44475</c:v>
                </c:pt>
                <c:pt idx="98">
                  <c:v>44476</c:v>
                </c:pt>
                <c:pt idx="99">
                  <c:v>44477</c:v>
                </c:pt>
                <c:pt idx="100">
                  <c:v>44478</c:v>
                </c:pt>
                <c:pt idx="101">
                  <c:v>44479</c:v>
                </c:pt>
                <c:pt idx="102">
                  <c:v>44480</c:v>
                </c:pt>
                <c:pt idx="103">
                  <c:v>44481</c:v>
                </c:pt>
                <c:pt idx="104">
                  <c:v>44482</c:v>
                </c:pt>
                <c:pt idx="105">
                  <c:v>44483</c:v>
                </c:pt>
                <c:pt idx="106">
                  <c:v>44484</c:v>
                </c:pt>
                <c:pt idx="107">
                  <c:v>44485</c:v>
                </c:pt>
                <c:pt idx="108">
                  <c:v>44486</c:v>
                </c:pt>
                <c:pt idx="109">
                  <c:v>44487</c:v>
                </c:pt>
                <c:pt idx="110">
                  <c:v>44488</c:v>
                </c:pt>
                <c:pt idx="111">
                  <c:v>44489</c:v>
                </c:pt>
                <c:pt idx="112">
                  <c:v>44490</c:v>
                </c:pt>
                <c:pt idx="113">
                  <c:v>44491</c:v>
                </c:pt>
                <c:pt idx="114">
                  <c:v>44492</c:v>
                </c:pt>
                <c:pt idx="115">
                  <c:v>44493</c:v>
                </c:pt>
                <c:pt idx="116">
                  <c:v>44494</c:v>
                </c:pt>
                <c:pt idx="117">
                  <c:v>44495</c:v>
                </c:pt>
                <c:pt idx="118">
                  <c:v>44496</c:v>
                </c:pt>
                <c:pt idx="119">
                  <c:v>44497</c:v>
                </c:pt>
                <c:pt idx="120">
                  <c:v>44498</c:v>
                </c:pt>
                <c:pt idx="121">
                  <c:v>44499</c:v>
                </c:pt>
                <c:pt idx="122">
                  <c:v>44500</c:v>
                </c:pt>
                <c:pt idx="123">
                  <c:v>44501</c:v>
                </c:pt>
                <c:pt idx="124">
                  <c:v>44502</c:v>
                </c:pt>
                <c:pt idx="125">
                  <c:v>44503</c:v>
                </c:pt>
                <c:pt idx="126">
                  <c:v>44504</c:v>
                </c:pt>
                <c:pt idx="127">
                  <c:v>44505</c:v>
                </c:pt>
                <c:pt idx="128">
                  <c:v>44506</c:v>
                </c:pt>
                <c:pt idx="129">
                  <c:v>44507</c:v>
                </c:pt>
                <c:pt idx="130">
                  <c:v>44508</c:v>
                </c:pt>
                <c:pt idx="131">
                  <c:v>44509</c:v>
                </c:pt>
                <c:pt idx="132">
                  <c:v>44510</c:v>
                </c:pt>
                <c:pt idx="133">
                  <c:v>44511</c:v>
                </c:pt>
                <c:pt idx="134">
                  <c:v>44512</c:v>
                </c:pt>
                <c:pt idx="135">
                  <c:v>44513</c:v>
                </c:pt>
                <c:pt idx="136">
                  <c:v>44514</c:v>
                </c:pt>
                <c:pt idx="137">
                  <c:v>44515</c:v>
                </c:pt>
                <c:pt idx="138">
                  <c:v>44516</c:v>
                </c:pt>
                <c:pt idx="139">
                  <c:v>44517</c:v>
                </c:pt>
                <c:pt idx="140">
                  <c:v>44518</c:v>
                </c:pt>
                <c:pt idx="141">
                  <c:v>44519</c:v>
                </c:pt>
                <c:pt idx="142">
                  <c:v>44520</c:v>
                </c:pt>
                <c:pt idx="143">
                  <c:v>44521</c:v>
                </c:pt>
                <c:pt idx="144">
                  <c:v>44522</c:v>
                </c:pt>
                <c:pt idx="145">
                  <c:v>44523</c:v>
                </c:pt>
                <c:pt idx="146">
                  <c:v>44524</c:v>
                </c:pt>
                <c:pt idx="147">
                  <c:v>44525</c:v>
                </c:pt>
                <c:pt idx="148">
                  <c:v>44526</c:v>
                </c:pt>
                <c:pt idx="149">
                  <c:v>44527</c:v>
                </c:pt>
                <c:pt idx="150">
                  <c:v>44528</c:v>
                </c:pt>
                <c:pt idx="151">
                  <c:v>44529</c:v>
                </c:pt>
                <c:pt idx="152">
                  <c:v>44530</c:v>
                </c:pt>
                <c:pt idx="153">
                  <c:v>44531</c:v>
                </c:pt>
                <c:pt idx="154">
                  <c:v>44532</c:v>
                </c:pt>
                <c:pt idx="155">
                  <c:v>44533</c:v>
                </c:pt>
              </c:numCache>
            </c:numRef>
          </c:cat>
          <c:val>
            <c:numRef>
              <c:f>'AgeDeaths (2)'!$H$2:$H$644</c:f>
              <c:numCache>
                <c:formatCode>General</c:formatCode>
                <c:ptCount val="156"/>
                <c:pt idx="0">
                  <c:v>1.5661584482502096</c:v>
                </c:pt>
                <c:pt idx="1">
                  <c:v>1.7619282542814856</c:v>
                </c:pt>
                <c:pt idx="2">
                  <c:v>1.3703886422189331</c:v>
                </c:pt>
                <c:pt idx="3">
                  <c:v>1.3703886422189331</c:v>
                </c:pt>
                <c:pt idx="4">
                  <c:v>1.3703886422189331</c:v>
                </c:pt>
                <c:pt idx="5">
                  <c:v>1.5661584482502096</c:v>
                </c:pt>
                <c:pt idx="6">
                  <c:v>2.3492376723753141</c:v>
                </c:pt>
                <c:pt idx="7">
                  <c:v>2.5450074784065899</c:v>
                </c:pt>
                <c:pt idx="8">
                  <c:v>2.1534678663440383</c:v>
                </c:pt>
                <c:pt idx="9">
                  <c:v>2.3492376723753141</c:v>
                </c:pt>
                <c:pt idx="10">
                  <c:v>2.1534678663440379</c:v>
                </c:pt>
                <c:pt idx="11">
                  <c:v>1.9576980603127621</c:v>
                </c:pt>
                <c:pt idx="12">
                  <c:v>1.5661584482502096</c:v>
                </c:pt>
                <c:pt idx="13">
                  <c:v>0.97884903015638092</c:v>
                </c:pt>
                <c:pt idx="14">
                  <c:v>0.97884903015638092</c:v>
                </c:pt>
                <c:pt idx="15">
                  <c:v>0.97884903015638092</c:v>
                </c:pt>
                <c:pt idx="16">
                  <c:v>1.1746188361876571</c:v>
                </c:pt>
                <c:pt idx="17">
                  <c:v>0.97884903015638092</c:v>
                </c:pt>
                <c:pt idx="18">
                  <c:v>1.7619282542814858</c:v>
                </c:pt>
                <c:pt idx="19">
                  <c:v>1.9576980603127621</c:v>
                </c:pt>
                <c:pt idx="20">
                  <c:v>2.1534678663440383</c:v>
                </c:pt>
                <c:pt idx="21">
                  <c:v>1.7619282542814856</c:v>
                </c:pt>
                <c:pt idx="22">
                  <c:v>2.1534678663440379</c:v>
                </c:pt>
                <c:pt idx="23">
                  <c:v>2.1534678663440379</c:v>
                </c:pt>
                <c:pt idx="24">
                  <c:v>2.5450074784065899</c:v>
                </c:pt>
                <c:pt idx="25">
                  <c:v>1.9576980603127616</c:v>
                </c:pt>
                <c:pt idx="26">
                  <c:v>2.3492376723753141</c:v>
                </c:pt>
                <c:pt idx="27">
                  <c:v>2.3492376723753137</c:v>
                </c:pt>
                <c:pt idx="28">
                  <c:v>2.3492376723753137</c:v>
                </c:pt>
                <c:pt idx="29">
                  <c:v>2.3492376723753141</c:v>
                </c:pt>
                <c:pt idx="30">
                  <c:v>1.9576980603127618</c:v>
                </c:pt>
                <c:pt idx="31">
                  <c:v>1.5661584482502096</c:v>
                </c:pt>
                <c:pt idx="32">
                  <c:v>1.5661584482502096</c:v>
                </c:pt>
                <c:pt idx="33">
                  <c:v>1.1746188361876571</c:v>
                </c:pt>
                <c:pt idx="34">
                  <c:v>1.1746188361876571</c:v>
                </c:pt>
                <c:pt idx="35">
                  <c:v>1.7619282542814858</c:v>
                </c:pt>
                <c:pt idx="36">
                  <c:v>1.7619282542814856</c:v>
                </c:pt>
                <c:pt idx="37">
                  <c:v>2.1534678663440379</c:v>
                </c:pt>
                <c:pt idx="38">
                  <c:v>2.5450074784065899</c:v>
                </c:pt>
                <c:pt idx="39">
                  <c:v>2.5450074784065904</c:v>
                </c:pt>
                <c:pt idx="40">
                  <c:v>3.3280867025316954</c:v>
                </c:pt>
                <c:pt idx="41">
                  <c:v>4.1111659266567999</c:v>
                </c:pt>
                <c:pt idx="42">
                  <c:v>4.6984753447506282</c:v>
                </c:pt>
                <c:pt idx="43">
                  <c:v>4.8942451507819049</c:v>
                </c:pt>
                <c:pt idx="44">
                  <c:v>5.0900149568131798</c:v>
                </c:pt>
                <c:pt idx="45">
                  <c:v>5.8730941809382857</c:v>
                </c:pt>
                <c:pt idx="46">
                  <c:v>6.6561734050633898</c:v>
                </c:pt>
                <c:pt idx="47">
                  <c:v>6.6561734050633898</c:v>
                </c:pt>
                <c:pt idx="48">
                  <c:v>6.460403599032114</c:v>
                </c:pt>
                <c:pt idx="49">
                  <c:v>7.0477130171259432</c:v>
                </c:pt>
                <c:pt idx="50">
                  <c:v>6.6561734050633907</c:v>
                </c:pt>
                <c:pt idx="51">
                  <c:v>7.8307922412510473</c:v>
                </c:pt>
                <c:pt idx="52">
                  <c:v>7.4392526291884957</c:v>
                </c:pt>
                <c:pt idx="53">
                  <c:v>7.0477130171259423</c:v>
                </c:pt>
                <c:pt idx="54">
                  <c:v>7.6350224352197715</c:v>
                </c:pt>
                <c:pt idx="55">
                  <c:v>7.8307922412510464</c:v>
                </c:pt>
                <c:pt idx="56">
                  <c:v>6.6561734050633907</c:v>
                </c:pt>
                <c:pt idx="57">
                  <c:v>7.0477130171259423</c:v>
                </c:pt>
                <c:pt idx="58">
                  <c:v>5.8730941809382866</c:v>
                </c:pt>
                <c:pt idx="59">
                  <c:v>6.6561734050633907</c:v>
                </c:pt>
                <c:pt idx="60">
                  <c:v>8.2223318533135998</c:v>
                </c:pt>
                <c:pt idx="61">
                  <c:v>8.026562047282324</c:v>
                </c:pt>
                <c:pt idx="62">
                  <c:v>8.0265620472823223</c:v>
                </c:pt>
                <c:pt idx="63">
                  <c:v>8.4181016593448756</c:v>
                </c:pt>
                <c:pt idx="64">
                  <c:v>9.3969506895012547</c:v>
                </c:pt>
                <c:pt idx="65">
                  <c:v>9.5927204955325323</c:v>
                </c:pt>
                <c:pt idx="66">
                  <c:v>9.7884903015638098</c:v>
                </c:pt>
                <c:pt idx="67">
                  <c:v>8.4181016593448756</c:v>
                </c:pt>
                <c:pt idx="68">
                  <c:v>9.0054110774387048</c:v>
                </c:pt>
                <c:pt idx="69">
                  <c:v>8.4181016593448756</c:v>
                </c:pt>
                <c:pt idx="70">
                  <c:v>9.3969506895012564</c:v>
                </c:pt>
                <c:pt idx="71">
                  <c:v>9.2011808834699789</c:v>
                </c:pt>
                <c:pt idx="72">
                  <c:v>9.3969506895012564</c:v>
                </c:pt>
                <c:pt idx="73">
                  <c:v>8.8096412714074273</c:v>
                </c:pt>
                <c:pt idx="74">
                  <c:v>9.2011808834699789</c:v>
                </c:pt>
                <c:pt idx="75">
                  <c:v>9.9842601075950856</c:v>
                </c:pt>
                <c:pt idx="76">
                  <c:v>11.158878943782742</c:v>
                </c:pt>
                <c:pt idx="77">
                  <c:v>10.571569525688913</c:v>
                </c:pt>
                <c:pt idx="78">
                  <c:v>10.963109137751465</c:v>
                </c:pt>
                <c:pt idx="79">
                  <c:v>11.550418555845296</c:v>
                </c:pt>
                <c:pt idx="80">
                  <c:v>12.72503739203295</c:v>
                </c:pt>
                <c:pt idx="81">
                  <c:v>12.72503739203295</c:v>
                </c:pt>
                <c:pt idx="82">
                  <c:v>12.137727973939125</c:v>
                </c:pt>
                <c:pt idx="83">
                  <c:v>12.529267586001676</c:v>
                </c:pt>
                <c:pt idx="84">
                  <c:v>13.703886422189333</c:v>
                </c:pt>
                <c:pt idx="85">
                  <c:v>13.703886422189333</c:v>
                </c:pt>
                <c:pt idx="86">
                  <c:v>13.899656228220611</c:v>
                </c:pt>
                <c:pt idx="87">
                  <c:v>13.899656228220609</c:v>
                </c:pt>
                <c:pt idx="88">
                  <c:v>15.270044870439543</c:v>
                </c:pt>
                <c:pt idx="89">
                  <c:v>15.270044870439545</c:v>
                </c:pt>
                <c:pt idx="90">
                  <c:v>15.270044870439545</c:v>
                </c:pt>
                <c:pt idx="91">
                  <c:v>14.291195840283162</c:v>
                </c:pt>
                <c:pt idx="92">
                  <c:v>14.87850525837699</c:v>
                </c:pt>
                <c:pt idx="93">
                  <c:v>15.270044870439543</c:v>
                </c:pt>
                <c:pt idx="94">
                  <c:v>15.270044870439543</c:v>
                </c:pt>
                <c:pt idx="95">
                  <c:v>14.486965646314436</c:v>
                </c:pt>
                <c:pt idx="96">
                  <c:v>14.682735452345712</c:v>
                </c:pt>
                <c:pt idx="97">
                  <c:v>13.703886422189333</c:v>
                </c:pt>
                <c:pt idx="98">
                  <c:v>13.899656228220609</c:v>
                </c:pt>
                <c:pt idx="99">
                  <c:v>13.508116616158057</c:v>
                </c:pt>
                <c:pt idx="100">
                  <c:v>13.116577004095502</c:v>
                </c:pt>
                <c:pt idx="101">
                  <c:v>13.508116616158057</c:v>
                </c:pt>
                <c:pt idx="102">
                  <c:v>13.508116616158057</c:v>
                </c:pt>
                <c:pt idx="103">
                  <c:v>12.920807198064228</c:v>
                </c:pt>
                <c:pt idx="104">
                  <c:v>15.465814676470817</c:v>
                </c:pt>
                <c:pt idx="105">
                  <c:v>15.661584482502093</c:v>
                </c:pt>
                <c:pt idx="106">
                  <c:v>15.074275064408265</c:v>
                </c:pt>
                <c:pt idx="107">
                  <c:v>16.053124094564645</c:v>
                </c:pt>
                <c:pt idx="108">
                  <c:v>15.661584482502093</c:v>
                </c:pt>
                <c:pt idx="109">
                  <c:v>15.661584482502095</c:v>
                </c:pt>
                <c:pt idx="110">
                  <c:v>16.640433512658475</c:v>
                </c:pt>
                <c:pt idx="111">
                  <c:v>15.857354288533372</c:v>
                </c:pt>
                <c:pt idx="112">
                  <c:v>16.24889390059592</c:v>
                </c:pt>
                <c:pt idx="113">
                  <c:v>17.423512736783582</c:v>
                </c:pt>
                <c:pt idx="114">
                  <c:v>17.227742930752306</c:v>
                </c:pt>
                <c:pt idx="115">
                  <c:v>17.031973124721031</c:v>
                </c:pt>
                <c:pt idx="116">
                  <c:v>17.815052348846134</c:v>
                </c:pt>
                <c:pt idx="117">
                  <c:v>18.206591960908689</c:v>
                </c:pt>
                <c:pt idx="118">
                  <c:v>19.381210797096344</c:v>
                </c:pt>
                <c:pt idx="119">
                  <c:v>20.555829633283999</c:v>
                </c:pt>
                <c:pt idx="120">
                  <c:v>19.772750409158895</c:v>
                </c:pt>
                <c:pt idx="121">
                  <c:v>19.381210797096344</c:v>
                </c:pt>
                <c:pt idx="122">
                  <c:v>19.185440991065068</c:v>
                </c:pt>
                <c:pt idx="123">
                  <c:v>19.381210797096344</c:v>
                </c:pt>
                <c:pt idx="124">
                  <c:v>18.598131572971237</c:v>
                </c:pt>
                <c:pt idx="125">
                  <c:v>16.640433512658472</c:v>
                </c:pt>
                <c:pt idx="126">
                  <c:v>16.248893900595924</c:v>
                </c:pt>
                <c:pt idx="127">
                  <c:v>17.815052348846134</c:v>
                </c:pt>
                <c:pt idx="128">
                  <c:v>18.402361766939965</c:v>
                </c:pt>
                <c:pt idx="129">
                  <c:v>18.598131572971234</c:v>
                </c:pt>
                <c:pt idx="130">
                  <c:v>18.01082215487741</c:v>
                </c:pt>
                <c:pt idx="131">
                  <c:v>19.185440991065068</c:v>
                </c:pt>
                <c:pt idx="132">
                  <c:v>20.94736924534655</c:v>
                </c:pt>
                <c:pt idx="133">
                  <c:v>22.70929749962804</c:v>
                </c:pt>
                <c:pt idx="134">
                  <c:v>22.121988081534209</c:v>
                </c:pt>
                <c:pt idx="135">
                  <c:v>22.905067305659315</c:v>
                </c:pt>
                <c:pt idx="136">
                  <c:v>23.883916335815691</c:v>
                </c:pt>
                <c:pt idx="137">
                  <c:v>24.275455947878246</c:v>
                </c:pt>
                <c:pt idx="138">
                  <c:v>23.883916335815691</c:v>
                </c:pt>
                <c:pt idx="139">
                  <c:v>23.296606917721867</c:v>
                </c:pt>
                <c:pt idx="140">
                  <c:v>21.926218275502936</c:v>
                </c:pt>
                <c:pt idx="141">
                  <c:v>21.926218275502936</c:v>
                </c:pt>
                <c:pt idx="142">
                  <c:v>22.121988081534209</c:v>
                </c:pt>
                <c:pt idx="143">
                  <c:v>22.121988081534205</c:v>
                </c:pt>
                <c:pt idx="144">
                  <c:v>22.70929749962804</c:v>
                </c:pt>
                <c:pt idx="145">
                  <c:v>24.471225753909525</c:v>
                </c:pt>
                <c:pt idx="146">
                  <c:v>24.471225753909525</c:v>
                </c:pt>
                <c:pt idx="147">
                  <c:v>23.688146529784415</c:v>
                </c:pt>
                <c:pt idx="148">
                  <c:v>24.862765365972074</c:v>
                </c:pt>
                <c:pt idx="149">
                  <c:v>24.275455947878243</c:v>
                </c:pt>
                <c:pt idx="150">
                  <c:v>26.233154008191011</c:v>
                </c:pt>
                <c:pt idx="151">
                  <c:v>27.016233232316115</c:v>
                </c:pt>
                <c:pt idx="152">
                  <c:v>24.666995559940798</c:v>
                </c:pt>
                <c:pt idx="153">
                  <c:v>22.70929749962804</c:v>
                </c:pt>
                <c:pt idx="154">
                  <c:v>20.751599439315275</c:v>
                </c:pt>
                <c:pt idx="155">
                  <c:v>17.0319731247210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DFDA-43C6-A408-AE988A7E0E40}"/>
            </c:ext>
          </c:extLst>
        </c:ser>
        <c:ser>
          <c:idx val="7"/>
          <c:order val="7"/>
          <c:tx>
            <c:strRef>
              <c:f>'AgeDeaths (2)'!$I$1</c:f>
              <c:strCache>
                <c:ptCount val="1"/>
                <c:pt idx="0">
                  <c:v>80+</c:v>
                </c:pt>
              </c:strCache>
            </c:strRef>
          </c:tx>
          <c:spPr>
            <a:ln w="28575" cap="rnd">
              <a:solidFill>
                <a:srgbClr val="FF5050"/>
              </a:solidFill>
              <a:prstDash val="lgDash"/>
              <a:round/>
            </a:ln>
            <a:effectLst/>
          </c:spPr>
          <c:marker>
            <c:symbol val="none"/>
          </c:marker>
          <c:cat>
            <c:numRef>
              <c:f>'AgeDeaths (2)'!$A$2:$A$644</c:f>
              <c:numCache>
                <c:formatCode>m/d;@</c:formatCode>
                <c:ptCount val="156"/>
                <c:pt idx="0">
                  <c:v>44378</c:v>
                </c:pt>
                <c:pt idx="1">
                  <c:v>44379</c:v>
                </c:pt>
                <c:pt idx="2">
                  <c:v>44380</c:v>
                </c:pt>
                <c:pt idx="3">
                  <c:v>44381</c:v>
                </c:pt>
                <c:pt idx="4">
                  <c:v>44382</c:v>
                </c:pt>
                <c:pt idx="5">
                  <c:v>44383</c:v>
                </c:pt>
                <c:pt idx="6">
                  <c:v>44384</c:v>
                </c:pt>
                <c:pt idx="7">
                  <c:v>44385</c:v>
                </c:pt>
                <c:pt idx="8">
                  <c:v>44386</c:v>
                </c:pt>
                <c:pt idx="9">
                  <c:v>44387</c:v>
                </c:pt>
                <c:pt idx="10">
                  <c:v>44388</c:v>
                </c:pt>
                <c:pt idx="11">
                  <c:v>44389</c:v>
                </c:pt>
                <c:pt idx="12">
                  <c:v>44390</c:v>
                </c:pt>
                <c:pt idx="13">
                  <c:v>44391</c:v>
                </c:pt>
                <c:pt idx="14">
                  <c:v>44392</c:v>
                </c:pt>
                <c:pt idx="15">
                  <c:v>44393</c:v>
                </c:pt>
                <c:pt idx="16">
                  <c:v>44394</c:v>
                </c:pt>
                <c:pt idx="17">
                  <c:v>44395</c:v>
                </c:pt>
                <c:pt idx="18">
                  <c:v>44396</c:v>
                </c:pt>
                <c:pt idx="19">
                  <c:v>44397</c:v>
                </c:pt>
                <c:pt idx="20">
                  <c:v>44398</c:v>
                </c:pt>
                <c:pt idx="21">
                  <c:v>44399</c:v>
                </c:pt>
                <c:pt idx="22">
                  <c:v>44400</c:v>
                </c:pt>
                <c:pt idx="23">
                  <c:v>44401</c:v>
                </c:pt>
                <c:pt idx="24">
                  <c:v>44402</c:v>
                </c:pt>
                <c:pt idx="25">
                  <c:v>44403</c:v>
                </c:pt>
                <c:pt idx="26">
                  <c:v>44404</c:v>
                </c:pt>
                <c:pt idx="27">
                  <c:v>44405</c:v>
                </c:pt>
                <c:pt idx="28">
                  <c:v>44406</c:v>
                </c:pt>
                <c:pt idx="29">
                  <c:v>44407</c:v>
                </c:pt>
                <c:pt idx="30">
                  <c:v>44408</c:v>
                </c:pt>
                <c:pt idx="31">
                  <c:v>44409</c:v>
                </c:pt>
                <c:pt idx="32">
                  <c:v>44410</c:v>
                </c:pt>
                <c:pt idx="33">
                  <c:v>44411</c:v>
                </c:pt>
                <c:pt idx="34">
                  <c:v>44412</c:v>
                </c:pt>
                <c:pt idx="35">
                  <c:v>44413</c:v>
                </c:pt>
                <c:pt idx="36">
                  <c:v>44414</c:v>
                </c:pt>
                <c:pt idx="37">
                  <c:v>44415</c:v>
                </c:pt>
                <c:pt idx="38">
                  <c:v>44416</c:v>
                </c:pt>
                <c:pt idx="39">
                  <c:v>44417</c:v>
                </c:pt>
                <c:pt idx="40">
                  <c:v>44418</c:v>
                </c:pt>
                <c:pt idx="41">
                  <c:v>44419</c:v>
                </c:pt>
                <c:pt idx="42">
                  <c:v>44420</c:v>
                </c:pt>
                <c:pt idx="43">
                  <c:v>44421</c:v>
                </c:pt>
                <c:pt idx="44">
                  <c:v>44422</c:v>
                </c:pt>
                <c:pt idx="45">
                  <c:v>44423</c:v>
                </c:pt>
                <c:pt idx="46">
                  <c:v>44424</c:v>
                </c:pt>
                <c:pt idx="47">
                  <c:v>44425</c:v>
                </c:pt>
                <c:pt idx="48">
                  <c:v>44426</c:v>
                </c:pt>
                <c:pt idx="49">
                  <c:v>44427</c:v>
                </c:pt>
                <c:pt idx="50">
                  <c:v>44428</c:v>
                </c:pt>
                <c:pt idx="51">
                  <c:v>44429</c:v>
                </c:pt>
                <c:pt idx="52">
                  <c:v>44430</c:v>
                </c:pt>
                <c:pt idx="53">
                  <c:v>44431</c:v>
                </c:pt>
                <c:pt idx="54">
                  <c:v>44432</c:v>
                </c:pt>
                <c:pt idx="55">
                  <c:v>44433</c:v>
                </c:pt>
                <c:pt idx="56">
                  <c:v>44434</c:v>
                </c:pt>
                <c:pt idx="57">
                  <c:v>44435</c:v>
                </c:pt>
                <c:pt idx="58">
                  <c:v>44436</c:v>
                </c:pt>
                <c:pt idx="59">
                  <c:v>44437</c:v>
                </c:pt>
                <c:pt idx="60">
                  <c:v>44438</c:v>
                </c:pt>
                <c:pt idx="61">
                  <c:v>44439</c:v>
                </c:pt>
                <c:pt idx="62">
                  <c:v>44440</c:v>
                </c:pt>
                <c:pt idx="63">
                  <c:v>44441</c:v>
                </c:pt>
                <c:pt idx="64">
                  <c:v>44442</c:v>
                </c:pt>
                <c:pt idx="65">
                  <c:v>44443</c:v>
                </c:pt>
                <c:pt idx="66">
                  <c:v>44444</c:v>
                </c:pt>
                <c:pt idx="67">
                  <c:v>44445</c:v>
                </c:pt>
                <c:pt idx="68">
                  <c:v>44446</c:v>
                </c:pt>
                <c:pt idx="69">
                  <c:v>44447</c:v>
                </c:pt>
                <c:pt idx="70">
                  <c:v>44448</c:v>
                </c:pt>
                <c:pt idx="71">
                  <c:v>44449</c:v>
                </c:pt>
                <c:pt idx="72">
                  <c:v>44450</c:v>
                </c:pt>
                <c:pt idx="73">
                  <c:v>44451</c:v>
                </c:pt>
                <c:pt idx="74">
                  <c:v>44452</c:v>
                </c:pt>
                <c:pt idx="75">
                  <c:v>44453</c:v>
                </c:pt>
                <c:pt idx="76">
                  <c:v>44454</c:v>
                </c:pt>
                <c:pt idx="77">
                  <c:v>44455</c:v>
                </c:pt>
                <c:pt idx="78">
                  <c:v>44456</c:v>
                </c:pt>
                <c:pt idx="79">
                  <c:v>44457</c:v>
                </c:pt>
                <c:pt idx="80">
                  <c:v>44458</c:v>
                </c:pt>
                <c:pt idx="81">
                  <c:v>44459</c:v>
                </c:pt>
                <c:pt idx="82">
                  <c:v>44460</c:v>
                </c:pt>
                <c:pt idx="83">
                  <c:v>44461</c:v>
                </c:pt>
                <c:pt idx="84">
                  <c:v>44462</c:v>
                </c:pt>
                <c:pt idx="85">
                  <c:v>44463</c:v>
                </c:pt>
                <c:pt idx="86">
                  <c:v>44464</c:v>
                </c:pt>
                <c:pt idx="87">
                  <c:v>44465</c:v>
                </c:pt>
                <c:pt idx="88">
                  <c:v>44466</c:v>
                </c:pt>
                <c:pt idx="89">
                  <c:v>44467</c:v>
                </c:pt>
                <c:pt idx="90">
                  <c:v>44468</c:v>
                </c:pt>
                <c:pt idx="91">
                  <c:v>44469</c:v>
                </c:pt>
                <c:pt idx="92">
                  <c:v>44470</c:v>
                </c:pt>
                <c:pt idx="93">
                  <c:v>44471</c:v>
                </c:pt>
                <c:pt idx="94">
                  <c:v>44472</c:v>
                </c:pt>
                <c:pt idx="95">
                  <c:v>44473</c:v>
                </c:pt>
                <c:pt idx="96">
                  <c:v>44474</c:v>
                </c:pt>
                <c:pt idx="97">
                  <c:v>44475</c:v>
                </c:pt>
                <c:pt idx="98">
                  <c:v>44476</c:v>
                </c:pt>
                <c:pt idx="99">
                  <c:v>44477</c:v>
                </c:pt>
                <c:pt idx="100">
                  <c:v>44478</c:v>
                </c:pt>
                <c:pt idx="101">
                  <c:v>44479</c:v>
                </c:pt>
                <c:pt idx="102">
                  <c:v>44480</c:v>
                </c:pt>
                <c:pt idx="103">
                  <c:v>44481</c:v>
                </c:pt>
                <c:pt idx="104">
                  <c:v>44482</c:v>
                </c:pt>
                <c:pt idx="105">
                  <c:v>44483</c:v>
                </c:pt>
                <c:pt idx="106">
                  <c:v>44484</c:v>
                </c:pt>
                <c:pt idx="107">
                  <c:v>44485</c:v>
                </c:pt>
                <c:pt idx="108">
                  <c:v>44486</c:v>
                </c:pt>
                <c:pt idx="109">
                  <c:v>44487</c:v>
                </c:pt>
                <c:pt idx="110">
                  <c:v>44488</c:v>
                </c:pt>
                <c:pt idx="111">
                  <c:v>44489</c:v>
                </c:pt>
                <c:pt idx="112">
                  <c:v>44490</c:v>
                </c:pt>
                <c:pt idx="113">
                  <c:v>44491</c:v>
                </c:pt>
                <c:pt idx="114">
                  <c:v>44492</c:v>
                </c:pt>
                <c:pt idx="115">
                  <c:v>44493</c:v>
                </c:pt>
                <c:pt idx="116">
                  <c:v>44494</c:v>
                </c:pt>
                <c:pt idx="117">
                  <c:v>44495</c:v>
                </c:pt>
                <c:pt idx="118">
                  <c:v>44496</c:v>
                </c:pt>
                <c:pt idx="119">
                  <c:v>44497</c:v>
                </c:pt>
                <c:pt idx="120">
                  <c:v>44498</c:v>
                </c:pt>
                <c:pt idx="121">
                  <c:v>44499</c:v>
                </c:pt>
                <c:pt idx="122">
                  <c:v>44500</c:v>
                </c:pt>
                <c:pt idx="123">
                  <c:v>44501</c:v>
                </c:pt>
                <c:pt idx="124">
                  <c:v>44502</c:v>
                </c:pt>
                <c:pt idx="125">
                  <c:v>44503</c:v>
                </c:pt>
                <c:pt idx="126">
                  <c:v>44504</c:v>
                </c:pt>
                <c:pt idx="127">
                  <c:v>44505</c:v>
                </c:pt>
                <c:pt idx="128">
                  <c:v>44506</c:v>
                </c:pt>
                <c:pt idx="129">
                  <c:v>44507</c:v>
                </c:pt>
                <c:pt idx="130">
                  <c:v>44508</c:v>
                </c:pt>
                <c:pt idx="131">
                  <c:v>44509</c:v>
                </c:pt>
                <c:pt idx="132">
                  <c:v>44510</c:v>
                </c:pt>
                <c:pt idx="133">
                  <c:v>44511</c:v>
                </c:pt>
                <c:pt idx="134">
                  <c:v>44512</c:v>
                </c:pt>
                <c:pt idx="135">
                  <c:v>44513</c:v>
                </c:pt>
                <c:pt idx="136">
                  <c:v>44514</c:v>
                </c:pt>
                <c:pt idx="137">
                  <c:v>44515</c:v>
                </c:pt>
                <c:pt idx="138">
                  <c:v>44516</c:v>
                </c:pt>
                <c:pt idx="139">
                  <c:v>44517</c:v>
                </c:pt>
                <c:pt idx="140">
                  <c:v>44518</c:v>
                </c:pt>
                <c:pt idx="141">
                  <c:v>44519</c:v>
                </c:pt>
                <c:pt idx="142">
                  <c:v>44520</c:v>
                </c:pt>
                <c:pt idx="143">
                  <c:v>44521</c:v>
                </c:pt>
                <c:pt idx="144">
                  <c:v>44522</c:v>
                </c:pt>
                <c:pt idx="145">
                  <c:v>44523</c:v>
                </c:pt>
                <c:pt idx="146">
                  <c:v>44524</c:v>
                </c:pt>
                <c:pt idx="147">
                  <c:v>44525</c:v>
                </c:pt>
                <c:pt idx="148">
                  <c:v>44526</c:v>
                </c:pt>
                <c:pt idx="149">
                  <c:v>44527</c:v>
                </c:pt>
                <c:pt idx="150">
                  <c:v>44528</c:v>
                </c:pt>
                <c:pt idx="151">
                  <c:v>44529</c:v>
                </c:pt>
                <c:pt idx="152">
                  <c:v>44530</c:v>
                </c:pt>
                <c:pt idx="153">
                  <c:v>44531</c:v>
                </c:pt>
                <c:pt idx="154">
                  <c:v>44532</c:v>
                </c:pt>
                <c:pt idx="155">
                  <c:v>44533</c:v>
                </c:pt>
              </c:numCache>
            </c:numRef>
          </c:cat>
          <c:val>
            <c:numRef>
              <c:f>'AgeDeaths (2)'!$I$2:$I$644</c:f>
              <c:numCache>
                <c:formatCode>General</c:formatCode>
                <c:ptCount val="156"/>
                <c:pt idx="0">
                  <c:v>3.4823076138218361</c:v>
                </c:pt>
                <c:pt idx="1">
                  <c:v>3.8305383752040201</c:v>
                </c:pt>
                <c:pt idx="2">
                  <c:v>3.8305383752040201</c:v>
                </c:pt>
                <c:pt idx="3">
                  <c:v>3.8305383752040201</c:v>
                </c:pt>
                <c:pt idx="4">
                  <c:v>4.1787691365862036</c:v>
                </c:pt>
                <c:pt idx="5">
                  <c:v>3.8305383752040201</c:v>
                </c:pt>
                <c:pt idx="6">
                  <c:v>3.8305383752040201</c:v>
                </c:pt>
                <c:pt idx="7">
                  <c:v>3.1340768524396525</c:v>
                </c:pt>
                <c:pt idx="8">
                  <c:v>3.4823076138218361</c:v>
                </c:pt>
                <c:pt idx="9">
                  <c:v>3.8305383752040201</c:v>
                </c:pt>
                <c:pt idx="10">
                  <c:v>4.5269998979683868</c:v>
                </c:pt>
                <c:pt idx="11">
                  <c:v>4.1787691365862036</c:v>
                </c:pt>
                <c:pt idx="12">
                  <c:v>4.5269998979683868</c:v>
                </c:pt>
                <c:pt idx="13">
                  <c:v>4.1787691365862036</c:v>
                </c:pt>
                <c:pt idx="14">
                  <c:v>4.1787691365862036</c:v>
                </c:pt>
                <c:pt idx="15">
                  <c:v>3.1340768524396525</c:v>
                </c:pt>
                <c:pt idx="16">
                  <c:v>2.4376153296752854</c:v>
                </c:pt>
                <c:pt idx="17">
                  <c:v>2.7858460910574689</c:v>
                </c:pt>
                <c:pt idx="18">
                  <c:v>3.1340768524396525</c:v>
                </c:pt>
                <c:pt idx="19">
                  <c:v>3.4823076138218361</c:v>
                </c:pt>
                <c:pt idx="20">
                  <c:v>3.4823076138218361</c:v>
                </c:pt>
                <c:pt idx="21">
                  <c:v>3.1340768524396525</c:v>
                </c:pt>
                <c:pt idx="22">
                  <c:v>3.8305383752040201</c:v>
                </c:pt>
                <c:pt idx="23">
                  <c:v>4.1787691365862036</c:v>
                </c:pt>
                <c:pt idx="24">
                  <c:v>3.4823076138218361</c:v>
                </c:pt>
                <c:pt idx="25">
                  <c:v>3.1340768524396525</c:v>
                </c:pt>
                <c:pt idx="26">
                  <c:v>3.1340768524396525</c:v>
                </c:pt>
                <c:pt idx="27">
                  <c:v>3.4823076138218361</c:v>
                </c:pt>
                <c:pt idx="28">
                  <c:v>3.8305383752040201</c:v>
                </c:pt>
                <c:pt idx="29">
                  <c:v>4.1787691365862036</c:v>
                </c:pt>
                <c:pt idx="30">
                  <c:v>4.5269998979683868</c:v>
                </c:pt>
                <c:pt idx="31">
                  <c:v>4.5269998979683868</c:v>
                </c:pt>
                <c:pt idx="32">
                  <c:v>5.2234614207327548</c:v>
                </c:pt>
                <c:pt idx="33">
                  <c:v>4.8752306593505708</c:v>
                </c:pt>
                <c:pt idx="34">
                  <c:v>5.5716921821149379</c:v>
                </c:pt>
                <c:pt idx="35">
                  <c:v>6.2681537048793059</c:v>
                </c:pt>
                <c:pt idx="36">
                  <c:v>5.9199229434971219</c:v>
                </c:pt>
                <c:pt idx="37">
                  <c:v>7.312845989025857</c:v>
                </c:pt>
                <c:pt idx="38">
                  <c:v>7.312845989025857</c:v>
                </c:pt>
                <c:pt idx="39">
                  <c:v>6.616384466261489</c:v>
                </c:pt>
                <c:pt idx="40">
                  <c:v>8.0093075117902242</c:v>
                </c:pt>
                <c:pt idx="41">
                  <c:v>8.7057690345545904</c:v>
                </c:pt>
                <c:pt idx="42">
                  <c:v>9.0539997959367735</c:v>
                </c:pt>
                <c:pt idx="43">
                  <c:v>10.44692284146551</c:v>
                </c:pt>
                <c:pt idx="44">
                  <c:v>10.098692080083325</c:v>
                </c:pt>
                <c:pt idx="45">
                  <c:v>11.491615125612059</c:v>
                </c:pt>
                <c:pt idx="46">
                  <c:v>13.232768932522978</c:v>
                </c:pt>
                <c:pt idx="47">
                  <c:v>13.929230455287344</c:v>
                </c:pt>
                <c:pt idx="48">
                  <c:v>14.277461216669531</c:v>
                </c:pt>
                <c:pt idx="49">
                  <c:v>13.929230455287344</c:v>
                </c:pt>
                <c:pt idx="50">
                  <c:v>12.884538171140795</c:v>
                </c:pt>
                <c:pt idx="51">
                  <c:v>14.277461216669531</c:v>
                </c:pt>
                <c:pt idx="52">
                  <c:v>15.32215350081608</c:v>
                </c:pt>
                <c:pt idx="53">
                  <c:v>14.277461216669527</c:v>
                </c:pt>
                <c:pt idx="54">
                  <c:v>12.884538171140795</c:v>
                </c:pt>
                <c:pt idx="55">
                  <c:v>11.839845886994244</c:v>
                </c:pt>
                <c:pt idx="56">
                  <c:v>12.188076648376427</c:v>
                </c:pt>
                <c:pt idx="57">
                  <c:v>13.929230455287344</c:v>
                </c:pt>
                <c:pt idx="58">
                  <c:v>13.232768932522978</c:v>
                </c:pt>
                <c:pt idx="59">
                  <c:v>13.580999693905161</c:v>
                </c:pt>
                <c:pt idx="60">
                  <c:v>14.973922739433899</c:v>
                </c:pt>
                <c:pt idx="61">
                  <c:v>16.715076546344815</c:v>
                </c:pt>
                <c:pt idx="62">
                  <c:v>18.456230353255734</c:v>
                </c:pt>
                <c:pt idx="63">
                  <c:v>19.1526918760201</c:v>
                </c:pt>
                <c:pt idx="64">
                  <c:v>19.1526918760201</c:v>
                </c:pt>
                <c:pt idx="65">
                  <c:v>19.500922637402283</c:v>
                </c:pt>
                <c:pt idx="66">
                  <c:v>17.759768830491364</c:v>
                </c:pt>
                <c:pt idx="67">
                  <c:v>17.063307307726998</c:v>
                </c:pt>
                <c:pt idx="68">
                  <c:v>19.1526918760201</c:v>
                </c:pt>
                <c:pt idx="69">
                  <c:v>19.1526918760201</c:v>
                </c:pt>
                <c:pt idx="70">
                  <c:v>18.107999591873547</c:v>
                </c:pt>
                <c:pt idx="71">
                  <c:v>19.500922637402283</c:v>
                </c:pt>
                <c:pt idx="72">
                  <c:v>19.1526918760201</c:v>
                </c:pt>
                <c:pt idx="73">
                  <c:v>20.545614921548836</c:v>
                </c:pt>
                <c:pt idx="74">
                  <c:v>21.242076444313202</c:v>
                </c:pt>
                <c:pt idx="75">
                  <c:v>20.893845682931019</c:v>
                </c:pt>
                <c:pt idx="76">
                  <c:v>20.197384160166649</c:v>
                </c:pt>
                <c:pt idx="77">
                  <c:v>22.634999489841935</c:v>
                </c:pt>
                <c:pt idx="78">
                  <c:v>22.983230251224121</c:v>
                </c:pt>
                <c:pt idx="79">
                  <c:v>23.331461012606304</c:v>
                </c:pt>
                <c:pt idx="80">
                  <c:v>21.938537967077572</c:v>
                </c:pt>
                <c:pt idx="81">
                  <c:v>22.983230251224118</c:v>
                </c:pt>
                <c:pt idx="82">
                  <c:v>24.027922535370667</c:v>
                </c:pt>
                <c:pt idx="83">
                  <c:v>25.07261481951722</c:v>
                </c:pt>
                <c:pt idx="84">
                  <c:v>28.206691671956868</c:v>
                </c:pt>
                <c:pt idx="85">
                  <c:v>25.769076342281586</c:v>
                </c:pt>
                <c:pt idx="86">
                  <c:v>25.07261481951722</c:v>
                </c:pt>
                <c:pt idx="87">
                  <c:v>26.117307103663773</c:v>
                </c:pt>
                <c:pt idx="88">
                  <c:v>25.420845580899403</c:v>
                </c:pt>
                <c:pt idx="89">
                  <c:v>21.590307205695385</c:v>
                </c:pt>
                <c:pt idx="90">
                  <c:v>24.724384058135037</c:v>
                </c:pt>
                <c:pt idx="91">
                  <c:v>22.286768728459752</c:v>
                </c:pt>
                <c:pt idx="92">
                  <c:v>23.331461012606304</c:v>
                </c:pt>
                <c:pt idx="93">
                  <c:v>25.07261481951722</c:v>
                </c:pt>
                <c:pt idx="94">
                  <c:v>25.07261481951722</c:v>
                </c:pt>
                <c:pt idx="95">
                  <c:v>25.420845580899403</c:v>
                </c:pt>
                <c:pt idx="96">
                  <c:v>29.599614717485611</c:v>
                </c:pt>
                <c:pt idx="97">
                  <c:v>27.161999387810322</c:v>
                </c:pt>
                <c:pt idx="98">
                  <c:v>29.251383956103421</c:v>
                </c:pt>
                <c:pt idx="99">
                  <c:v>30.29607624024997</c:v>
                </c:pt>
                <c:pt idx="100">
                  <c:v>29.251383956103428</c:v>
                </c:pt>
                <c:pt idx="101">
                  <c:v>28.554922433339055</c:v>
                </c:pt>
                <c:pt idx="102">
                  <c:v>29.599614717485615</c:v>
                </c:pt>
                <c:pt idx="103">
                  <c:v>26.813768626428136</c:v>
                </c:pt>
                <c:pt idx="104">
                  <c:v>27.510230149192513</c:v>
                </c:pt>
                <c:pt idx="105">
                  <c:v>26.117307103663773</c:v>
                </c:pt>
                <c:pt idx="106">
                  <c:v>28.903153194721238</c:v>
                </c:pt>
                <c:pt idx="107">
                  <c:v>31.688999285778713</c:v>
                </c:pt>
                <c:pt idx="108">
                  <c:v>34.823076138218362</c:v>
                </c:pt>
                <c:pt idx="109">
                  <c:v>34.474845376836178</c:v>
                </c:pt>
                <c:pt idx="110">
                  <c:v>36.91246070651146</c:v>
                </c:pt>
                <c:pt idx="111">
                  <c:v>37.95715299065801</c:v>
                </c:pt>
                <c:pt idx="112">
                  <c:v>38.653614513422376</c:v>
                </c:pt>
                <c:pt idx="113">
                  <c:v>37.608922229275834</c:v>
                </c:pt>
                <c:pt idx="114">
                  <c:v>39.350076036186749</c:v>
                </c:pt>
                <c:pt idx="115">
                  <c:v>41.091229843097665</c:v>
                </c:pt>
                <c:pt idx="116">
                  <c:v>39.698306797568925</c:v>
                </c:pt>
                <c:pt idx="117">
                  <c:v>38.653614513422376</c:v>
                </c:pt>
                <c:pt idx="118">
                  <c:v>37.608922229275827</c:v>
                </c:pt>
                <c:pt idx="119">
                  <c:v>37.957152990658017</c:v>
                </c:pt>
                <c:pt idx="120">
                  <c:v>36.912460706511467</c:v>
                </c:pt>
                <c:pt idx="121">
                  <c:v>33.430153092689629</c:v>
                </c:pt>
                <c:pt idx="122">
                  <c:v>33.081922331307439</c:v>
                </c:pt>
                <c:pt idx="123">
                  <c:v>40.742999081715482</c:v>
                </c:pt>
                <c:pt idx="124">
                  <c:v>42.83238365000858</c:v>
                </c:pt>
                <c:pt idx="125">
                  <c:v>42.484152888626404</c:v>
                </c:pt>
                <c:pt idx="126">
                  <c:v>43.528845172772947</c:v>
                </c:pt>
                <c:pt idx="127">
                  <c:v>44.921768218301686</c:v>
                </c:pt>
                <c:pt idx="128">
                  <c:v>45.618229741066052</c:v>
                </c:pt>
                <c:pt idx="129">
                  <c:v>45.966460502448236</c:v>
                </c:pt>
                <c:pt idx="130">
                  <c:v>46.314691263830426</c:v>
                </c:pt>
                <c:pt idx="131">
                  <c:v>49.796998877652257</c:v>
                </c:pt>
                <c:pt idx="132">
                  <c:v>52.234614207327539</c:v>
                </c:pt>
                <c:pt idx="133">
                  <c:v>52.582844968709722</c:v>
                </c:pt>
                <c:pt idx="134">
                  <c:v>55.716921821149377</c:v>
                </c:pt>
                <c:pt idx="135">
                  <c:v>59.895690957735575</c:v>
                </c:pt>
                <c:pt idx="136">
                  <c:v>58.850998673589039</c:v>
                </c:pt>
                <c:pt idx="137">
                  <c:v>60.243921719117772</c:v>
                </c:pt>
                <c:pt idx="138">
                  <c:v>57.458075628060286</c:v>
                </c:pt>
                <c:pt idx="139">
                  <c:v>58.850998673589025</c:v>
                </c:pt>
                <c:pt idx="140">
                  <c:v>63.726229332939589</c:v>
                </c:pt>
                <c:pt idx="141">
                  <c:v>60.592152480499955</c:v>
                </c:pt>
                <c:pt idx="142">
                  <c:v>59.199229434971208</c:v>
                </c:pt>
                <c:pt idx="143">
                  <c:v>63.029767810175223</c:v>
                </c:pt>
                <c:pt idx="144">
                  <c:v>63.726229332939603</c:v>
                </c:pt>
                <c:pt idx="145">
                  <c:v>67.556767708143624</c:v>
                </c:pt>
                <c:pt idx="146">
                  <c:v>67.208536946761427</c:v>
                </c:pt>
                <c:pt idx="147">
                  <c:v>65.467383139850511</c:v>
                </c:pt>
                <c:pt idx="148">
                  <c:v>66.860306185379244</c:v>
                </c:pt>
                <c:pt idx="149">
                  <c:v>69.994383037818906</c:v>
                </c:pt>
                <c:pt idx="150">
                  <c:v>70.342613799201089</c:v>
                </c:pt>
                <c:pt idx="151">
                  <c:v>69.29792151505454</c:v>
                </c:pt>
                <c:pt idx="152">
                  <c:v>64.074460094321779</c:v>
                </c:pt>
                <c:pt idx="153">
                  <c:v>59.895690957735589</c:v>
                </c:pt>
                <c:pt idx="154">
                  <c:v>51.538152684563173</c:v>
                </c:pt>
                <c:pt idx="155">
                  <c:v>44.5735374569195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DFDA-43C6-A408-AE988A7E0E40}"/>
            </c:ext>
          </c:extLst>
        </c:ser>
        <c:ser>
          <c:idx val="8"/>
          <c:order val="8"/>
          <c:tx>
            <c:strRef>
              <c:f>'AgeDeaths (2)'!$J$1</c:f>
              <c:strCache>
                <c:ptCount val="1"/>
                <c:pt idx="0">
                  <c:v>Statewide</c:v>
                </c:pt>
              </c:strCache>
            </c:strRef>
          </c:tx>
          <c:spPr>
            <a:ln w="28575" cap="rnd">
              <a:solidFill>
                <a:srgbClr val="A50021"/>
              </a:solidFill>
              <a:prstDash val="lgDash"/>
              <a:round/>
            </a:ln>
            <a:effectLst/>
          </c:spPr>
          <c:marker>
            <c:symbol val="none"/>
          </c:marker>
          <c:cat>
            <c:numRef>
              <c:f>'AgeDeaths (2)'!$A$2:$A$644</c:f>
              <c:numCache>
                <c:formatCode>m/d;@</c:formatCode>
                <c:ptCount val="156"/>
                <c:pt idx="0">
                  <c:v>44378</c:v>
                </c:pt>
                <c:pt idx="1">
                  <c:v>44379</c:v>
                </c:pt>
                <c:pt idx="2">
                  <c:v>44380</c:v>
                </c:pt>
                <c:pt idx="3">
                  <c:v>44381</c:v>
                </c:pt>
                <c:pt idx="4">
                  <c:v>44382</c:v>
                </c:pt>
                <c:pt idx="5">
                  <c:v>44383</c:v>
                </c:pt>
                <c:pt idx="6">
                  <c:v>44384</c:v>
                </c:pt>
                <c:pt idx="7">
                  <c:v>44385</c:v>
                </c:pt>
                <c:pt idx="8">
                  <c:v>44386</c:v>
                </c:pt>
                <c:pt idx="9">
                  <c:v>44387</c:v>
                </c:pt>
                <c:pt idx="10">
                  <c:v>44388</c:v>
                </c:pt>
                <c:pt idx="11">
                  <c:v>44389</c:v>
                </c:pt>
                <c:pt idx="12">
                  <c:v>44390</c:v>
                </c:pt>
                <c:pt idx="13">
                  <c:v>44391</c:v>
                </c:pt>
                <c:pt idx="14">
                  <c:v>44392</c:v>
                </c:pt>
                <c:pt idx="15">
                  <c:v>44393</c:v>
                </c:pt>
                <c:pt idx="16">
                  <c:v>44394</c:v>
                </c:pt>
                <c:pt idx="17">
                  <c:v>44395</c:v>
                </c:pt>
                <c:pt idx="18">
                  <c:v>44396</c:v>
                </c:pt>
                <c:pt idx="19">
                  <c:v>44397</c:v>
                </c:pt>
                <c:pt idx="20">
                  <c:v>44398</c:v>
                </c:pt>
                <c:pt idx="21">
                  <c:v>44399</c:v>
                </c:pt>
                <c:pt idx="22">
                  <c:v>44400</c:v>
                </c:pt>
                <c:pt idx="23">
                  <c:v>44401</c:v>
                </c:pt>
                <c:pt idx="24">
                  <c:v>44402</c:v>
                </c:pt>
                <c:pt idx="25">
                  <c:v>44403</c:v>
                </c:pt>
                <c:pt idx="26">
                  <c:v>44404</c:v>
                </c:pt>
                <c:pt idx="27">
                  <c:v>44405</c:v>
                </c:pt>
                <c:pt idx="28">
                  <c:v>44406</c:v>
                </c:pt>
                <c:pt idx="29">
                  <c:v>44407</c:v>
                </c:pt>
                <c:pt idx="30">
                  <c:v>44408</c:v>
                </c:pt>
                <c:pt idx="31">
                  <c:v>44409</c:v>
                </c:pt>
                <c:pt idx="32">
                  <c:v>44410</c:v>
                </c:pt>
                <c:pt idx="33">
                  <c:v>44411</c:v>
                </c:pt>
                <c:pt idx="34">
                  <c:v>44412</c:v>
                </c:pt>
                <c:pt idx="35">
                  <c:v>44413</c:v>
                </c:pt>
                <c:pt idx="36">
                  <c:v>44414</c:v>
                </c:pt>
                <c:pt idx="37">
                  <c:v>44415</c:v>
                </c:pt>
                <c:pt idx="38">
                  <c:v>44416</c:v>
                </c:pt>
                <c:pt idx="39">
                  <c:v>44417</c:v>
                </c:pt>
                <c:pt idx="40">
                  <c:v>44418</c:v>
                </c:pt>
                <c:pt idx="41">
                  <c:v>44419</c:v>
                </c:pt>
                <c:pt idx="42">
                  <c:v>44420</c:v>
                </c:pt>
                <c:pt idx="43">
                  <c:v>44421</c:v>
                </c:pt>
                <c:pt idx="44">
                  <c:v>44422</c:v>
                </c:pt>
                <c:pt idx="45">
                  <c:v>44423</c:v>
                </c:pt>
                <c:pt idx="46">
                  <c:v>44424</c:v>
                </c:pt>
                <c:pt idx="47">
                  <c:v>44425</c:v>
                </c:pt>
                <c:pt idx="48">
                  <c:v>44426</c:v>
                </c:pt>
                <c:pt idx="49">
                  <c:v>44427</c:v>
                </c:pt>
                <c:pt idx="50">
                  <c:v>44428</c:v>
                </c:pt>
                <c:pt idx="51">
                  <c:v>44429</c:v>
                </c:pt>
                <c:pt idx="52">
                  <c:v>44430</c:v>
                </c:pt>
                <c:pt idx="53">
                  <c:v>44431</c:v>
                </c:pt>
                <c:pt idx="54">
                  <c:v>44432</c:v>
                </c:pt>
                <c:pt idx="55">
                  <c:v>44433</c:v>
                </c:pt>
                <c:pt idx="56">
                  <c:v>44434</c:v>
                </c:pt>
                <c:pt idx="57">
                  <c:v>44435</c:v>
                </c:pt>
                <c:pt idx="58">
                  <c:v>44436</c:v>
                </c:pt>
                <c:pt idx="59">
                  <c:v>44437</c:v>
                </c:pt>
                <c:pt idx="60">
                  <c:v>44438</c:v>
                </c:pt>
                <c:pt idx="61">
                  <c:v>44439</c:v>
                </c:pt>
                <c:pt idx="62">
                  <c:v>44440</c:v>
                </c:pt>
                <c:pt idx="63">
                  <c:v>44441</c:v>
                </c:pt>
                <c:pt idx="64">
                  <c:v>44442</c:v>
                </c:pt>
                <c:pt idx="65">
                  <c:v>44443</c:v>
                </c:pt>
                <c:pt idx="66">
                  <c:v>44444</c:v>
                </c:pt>
                <c:pt idx="67">
                  <c:v>44445</c:v>
                </c:pt>
                <c:pt idx="68">
                  <c:v>44446</c:v>
                </c:pt>
                <c:pt idx="69">
                  <c:v>44447</c:v>
                </c:pt>
                <c:pt idx="70">
                  <c:v>44448</c:v>
                </c:pt>
                <c:pt idx="71">
                  <c:v>44449</c:v>
                </c:pt>
                <c:pt idx="72">
                  <c:v>44450</c:v>
                </c:pt>
                <c:pt idx="73">
                  <c:v>44451</c:v>
                </c:pt>
                <c:pt idx="74">
                  <c:v>44452</c:v>
                </c:pt>
                <c:pt idx="75">
                  <c:v>44453</c:v>
                </c:pt>
                <c:pt idx="76">
                  <c:v>44454</c:v>
                </c:pt>
                <c:pt idx="77">
                  <c:v>44455</c:v>
                </c:pt>
                <c:pt idx="78">
                  <c:v>44456</c:v>
                </c:pt>
                <c:pt idx="79">
                  <c:v>44457</c:v>
                </c:pt>
                <c:pt idx="80">
                  <c:v>44458</c:v>
                </c:pt>
                <c:pt idx="81">
                  <c:v>44459</c:v>
                </c:pt>
                <c:pt idx="82">
                  <c:v>44460</c:v>
                </c:pt>
                <c:pt idx="83">
                  <c:v>44461</c:v>
                </c:pt>
                <c:pt idx="84">
                  <c:v>44462</c:v>
                </c:pt>
                <c:pt idx="85">
                  <c:v>44463</c:v>
                </c:pt>
                <c:pt idx="86">
                  <c:v>44464</c:v>
                </c:pt>
                <c:pt idx="87">
                  <c:v>44465</c:v>
                </c:pt>
                <c:pt idx="88">
                  <c:v>44466</c:v>
                </c:pt>
                <c:pt idx="89">
                  <c:v>44467</c:v>
                </c:pt>
                <c:pt idx="90">
                  <c:v>44468</c:v>
                </c:pt>
                <c:pt idx="91">
                  <c:v>44469</c:v>
                </c:pt>
                <c:pt idx="92">
                  <c:v>44470</c:v>
                </c:pt>
                <c:pt idx="93">
                  <c:v>44471</c:v>
                </c:pt>
                <c:pt idx="94">
                  <c:v>44472</c:v>
                </c:pt>
                <c:pt idx="95">
                  <c:v>44473</c:v>
                </c:pt>
                <c:pt idx="96">
                  <c:v>44474</c:v>
                </c:pt>
                <c:pt idx="97">
                  <c:v>44475</c:v>
                </c:pt>
                <c:pt idx="98">
                  <c:v>44476</c:v>
                </c:pt>
                <c:pt idx="99">
                  <c:v>44477</c:v>
                </c:pt>
                <c:pt idx="100">
                  <c:v>44478</c:v>
                </c:pt>
                <c:pt idx="101">
                  <c:v>44479</c:v>
                </c:pt>
                <c:pt idx="102">
                  <c:v>44480</c:v>
                </c:pt>
                <c:pt idx="103">
                  <c:v>44481</c:v>
                </c:pt>
                <c:pt idx="104">
                  <c:v>44482</c:v>
                </c:pt>
                <c:pt idx="105">
                  <c:v>44483</c:v>
                </c:pt>
                <c:pt idx="106">
                  <c:v>44484</c:v>
                </c:pt>
                <c:pt idx="107">
                  <c:v>44485</c:v>
                </c:pt>
                <c:pt idx="108">
                  <c:v>44486</c:v>
                </c:pt>
                <c:pt idx="109">
                  <c:v>44487</c:v>
                </c:pt>
                <c:pt idx="110">
                  <c:v>44488</c:v>
                </c:pt>
                <c:pt idx="111">
                  <c:v>44489</c:v>
                </c:pt>
                <c:pt idx="112">
                  <c:v>44490</c:v>
                </c:pt>
                <c:pt idx="113">
                  <c:v>44491</c:v>
                </c:pt>
                <c:pt idx="114">
                  <c:v>44492</c:v>
                </c:pt>
                <c:pt idx="115">
                  <c:v>44493</c:v>
                </c:pt>
                <c:pt idx="116">
                  <c:v>44494</c:v>
                </c:pt>
                <c:pt idx="117">
                  <c:v>44495</c:v>
                </c:pt>
                <c:pt idx="118">
                  <c:v>44496</c:v>
                </c:pt>
                <c:pt idx="119">
                  <c:v>44497</c:v>
                </c:pt>
                <c:pt idx="120">
                  <c:v>44498</c:v>
                </c:pt>
                <c:pt idx="121">
                  <c:v>44499</c:v>
                </c:pt>
                <c:pt idx="122">
                  <c:v>44500</c:v>
                </c:pt>
                <c:pt idx="123">
                  <c:v>44501</c:v>
                </c:pt>
                <c:pt idx="124">
                  <c:v>44502</c:v>
                </c:pt>
                <c:pt idx="125">
                  <c:v>44503</c:v>
                </c:pt>
                <c:pt idx="126">
                  <c:v>44504</c:v>
                </c:pt>
                <c:pt idx="127">
                  <c:v>44505</c:v>
                </c:pt>
                <c:pt idx="128">
                  <c:v>44506</c:v>
                </c:pt>
                <c:pt idx="129">
                  <c:v>44507</c:v>
                </c:pt>
                <c:pt idx="130">
                  <c:v>44508</c:v>
                </c:pt>
                <c:pt idx="131">
                  <c:v>44509</c:v>
                </c:pt>
                <c:pt idx="132">
                  <c:v>44510</c:v>
                </c:pt>
                <c:pt idx="133">
                  <c:v>44511</c:v>
                </c:pt>
                <c:pt idx="134">
                  <c:v>44512</c:v>
                </c:pt>
                <c:pt idx="135">
                  <c:v>44513</c:v>
                </c:pt>
                <c:pt idx="136">
                  <c:v>44514</c:v>
                </c:pt>
                <c:pt idx="137">
                  <c:v>44515</c:v>
                </c:pt>
                <c:pt idx="138">
                  <c:v>44516</c:v>
                </c:pt>
                <c:pt idx="139">
                  <c:v>44517</c:v>
                </c:pt>
                <c:pt idx="140">
                  <c:v>44518</c:v>
                </c:pt>
                <c:pt idx="141">
                  <c:v>44519</c:v>
                </c:pt>
                <c:pt idx="142">
                  <c:v>44520</c:v>
                </c:pt>
                <c:pt idx="143">
                  <c:v>44521</c:v>
                </c:pt>
                <c:pt idx="144">
                  <c:v>44522</c:v>
                </c:pt>
                <c:pt idx="145">
                  <c:v>44523</c:v>
                </c:pt>
                <c:pt idx="146">
                  <c:v>44524</c:v>
                </c:pt>
                <c:pt idx="147">
                  <c:v>44525</c:v>
                </c:pt>
                <c:pt idx="148">
                  <c:v>44526</c:v>
                </c:pt>
                <c:pt idx="149">
                  <c:v>44527</c:v>
                </c:pt>
                <c:pt idx="150">
                  <c:v>44528</c:v>
                </c:pt>
                <c:pt idx="151">
                  <c:v>44529</c:v>
                </c:pt>
                <c:pt idx="152">
                  <c:v>44530</c:v>
                </c:pt>
                <c:pt idx="153">
                  <c:v>44531</c:v>
                </c:pt>
                <c:pt idx="154">
                  <c:v>44532</c:v>
                </c:pt>
                <c:pt idx="155">
                  <c:v>44533</c:v>
                </c:pt>
              </c:numCache>
            </c:numRef>
          </c:cat>
          <c:val>
            <c:numRef>
              <c:f>'AgeDeaths (2)'!$J$2:$J$644</c:f>
              <c:numCache>
                <c:formatCode>General</c:formatCode>
                <c:ptCount val="156"/>
                <c:pt idx="0">
                  <c:v>0.58595364777940362</c:v>
                </c:pt>
                <c:pt idx="1">
                  <c:v>0.60024520016426719</c:v>
                </c:pt>
                <c:pt idx="2">
                  <c:v>0.52878743823994967</c:v>
                </c:pt>
                <c:pt idx="3">
                  <c:v>0.5144958858550861</c:v>
                </c:pt>
                <c:pt idx="4">
                  <c:v>0.48591278108535907</c:v>
                </c:pt>
                <c:pt idx="5">
                  <c:v>0.5144958858550861</c:v>
                </c:pt>
                <c:pt idx="6">
                  <c:v>0.60024520016426719</c:v>
                </c:pt>
                <c:pt idx="7">
                  <c:v>0.52878743823994967</c:v>
                </c:pt>
                <c:pt idx="8">
                  <c:v>0.5144958858550861</c:v>
                </c:pt>
                <c:pt idx="9">
                  <c:v>0.55737054300967659</c:v>
                </c:pt>
                <c:pt idx="10">
                  <c:v>0.58595364777940362</c:v>
                </c:pt>
                <c:pt idx="11">
                  <c:v>0.61453675254913065</c:v>
                </c:pt>
                <c:pt idx="12">
                  <c:v>0.55737054300967659</c:v>
                </c:pt>
                <c:pt idx="13">
                  <c:v>0.45732967631563209</c:v>
                </c:pt>
                <c:pt idx="14">
                  <c:v>0.50020433347022253</c:v>
                </c:pt>
                <c:pt idx="15">
                  <c:v>0.42874657154590512</c:v>
                </c:pt>
                <c:pt idx="16">
                  <c:v>0.41445501916104149</c:v>
                </c:pt>
                <c:pt idx="17">
                  <c:v>0.38587191439131457</c:v>
                </c:pt>
                <c:pt idx="18">
                  <c:v>0.41445501916104155</c:v>
                </c:pt>
                <c:pt idx="19">
                  <c:v>0.45732967631563209</c:v>
                </c:pt>
                <c:pt idx="20">
                  <c:v>0.47162122870049561</c:v>
                </c:pt>
                <c:pt idx="21">
                  <c:v>0.4144550191610416</c:v>
                </c:pt>
                <c:pt idx="22">
                  <c:v>0.47162122870049561</c:v>
                </c:pt>
                <c:pt idx="23">
                  <c:v>0.50020433347022264</c:v>
                </c:pt>
                <c:pt idx="24">
                  <c:v>0.5144958858550861</c:v>
                </c:pt>
                <c:pt idx="25">
                  <c:v>0.47162122870049561</c:v>
                </c:pt>
                <c:pt idx="26">
                  <c:v>0.5573705430096767</c:v>
                </c:pt>
                <c:pt idx="27">
                  <c:v>0.57166209539454016</c:v>
                </c:pt>
                <c:pt idx="28">
                  <c:v>0.60024520016426719</c:v>
                </c:pt>
                <c:pt idx="29">
                  <c:v>0.65741140970372114</c:v>
                </c:pt>
                <c:pt idx="30">
                  <c:v>0.64311985731885757</c:v>
                </c:pt>
                <c:pt idx="31">
                  <c:v>0.60024520016426719</c:v>
                </c:pt>
                <c:pt idx="32">
                  <c:v>0.68599451447344806</c:v>
                </c:pt>
                <c:pt idx="33">
                  <c:v>0.64311985731885757</c:v>
                </c:pt>
                <c:pt idx="34">
                  <c:v>0.6717029620885846</c:v>
                </c:pt>
                <c:pt idx="35">
                  <c:v>0.72886917162803866</c:v>
                </c:pt>
                <c:pt idx="36">
                  <c:v>0.65741140970372114</c:v>
                </c:pt>
                <c:pt idx="37">
                  <c:v>0.77174382878262915</c:v>
                </c:pt>
                <c:pt idx="38">
                  <c:v>0.85749314309181024</c:v>
                </c:pt>
                <c:pt idx="39">
                  <c:v>0.82891003832208321</c:v>
                </c:pt>
                <c:pt idx="40">
                  <c:v>0.94324245740099122</c:v>
                </c:pt>
                <c:pt idx="41">
                  <c:v>1.0575748764798991</c:v>
                </c:pt>
                <c:pt idx="42">
                  <c:v>1.0861579812496263</c:v>
                </c:pt>
                <c:pt idx="43">
                  <c:v>1.2433650574831248</c:v>
                </c:pt>
                <c:pt idx="44">
                  <c:v>1.2576566098679882</c:v>
                </c:pt>
                <c:pt idx="45">
                  <c:v>1.4005721337166235</c:v>
                </c:pt>
                <c:pt idx="46">
                  <c:v>1.6006538671047124</c:v>
                </c:pt>
                <c:pt idx="47">
                  <c:v>1.6006538671047124</c:v>
                </c:pt>
                <c:pt idx="48">
                  <c:v>1.6006538671047126</c:v>
                </c:pt>
                <c:pt idx="49">
                  <c:v>1.7292778385684839</c:v>
                </c:pt>
                <c:pt idx="50">
                  <c:v>1.6006538671047124</c:v>
                </c:pt>
                <c:pt idx="51">
                  <c:v>1.7578609433382106</c:v>
                </c:pt>
                <c:pt idx="52">
                  <c:v>1.7721524957230741</c:v>
                </c:pt>
                <c:pt idx="53">
                  <c:v>1.614945419489576</c:v>
                </c:pt>
                <c:pt idx="54">
                  <c:v>1.7292778385684837</c:v>
                </c:pt>
                <c:pt idx="55">
                  <c:v>1.8150271528776649</c:v>
                </c:pt>
                <c:pt idx="56">
                  <c:v>1.8150271528776649</c:v>
                </c:pt>
                <c:pt idx="57">
                  <c:v>1.9579426767262997</c:v>
                </c:pt>
                <c:pt idx="58">
                  <c:v>1.8579018100322553</c:v>
                </c:pt>
                <c:pt idx="59">
                  <c:v>2.0008173338808901</c:v>
                </c:pt>
                <c:pt idx="60">
                  <c:v>2.24377372442357</c:v>
                </c:pt>
                <c:pt idx="61">
                  <c:v>2.2151906196538431</c:v>
                </c:pt>
                <c:pt idx="62">
                  <c:v>2.24377372442357</c:v>
                </c:pt>
                <c:pt idx="63">
                  <c:v>2.2866483815781606</c:v>
                </c:pt>
                <c:pt idx="64">
                  <c:v>2.4724385625813858</c:v>
                </c:pt>
                <c:pt idx="65">
                  <c:v>2.5153132197359764</c:v>
                </c:pt>
                <c:pt idx="66">
                  <c:v>2.4581470101965226</c:v>
                </c:pt>
                <c:pt idx="67">
                  <c:v>2.2866483815781602</c:v>
                </c:pt>
                <c:pt idx="68">
                  <c:v>2.4724385625813858</c:v>
                </c:pt>
                <c:pt idx="69">
                  <c:v>2.4724385625813858</c:v>
                </c:pt>
                <c:pt idx="70">
                  <c:v>2.4867301149662495</c:v>
                </c:pt>
                <c:pt idx="71">
                  <c:v>2.415272353041932</c:v>
                </c:pt>
                <c:pt idx="72">
                  <c:v>2.5296047721208401</c:v>
                </c:pt>
                <c:pt idx="73">
                  <c:v>2.5010216673511132</c:v>
                </c:pt>
                <c:pt idx="74">
                  <c:v>2.7011034007392021</c:v>
                </c:pt>
                <c:pt idx="75">
                  <c:v>2.8011442674332465</c:v>
                </c:pt>
                <c:pt idx="76">
                  <c:v>2.9583513436667452</c:v>
                </c:pt>
                <c:pt idx="77">
                  <c:v>3.1012668675153803</c:v>
                </c:pt>
                <c:pt idx="78">
                  <c:v>3.2870570485186055</c:v>
                </c:pt>
                <c:pt idx="79">
                  <c:v>3.3156401532883328</c:v>
                </c:pt>
                <c:pt idx="80">
                  <c:v>3.3728063628277871</c:v>
                </c:pt>
                <c:pt idx="81">
                  <c:v>3.258473943748879</c:v>
                </c:pt>
                <c:pt idx="82">
                  <c:v>3.2441823913640149</c:v>
                </c:pt>
                <c:pt idx="83">
                  <c:v>3.187016181824561</c:v>
                </c:pt>
                <c:pt idx="84">
                  <c:v>3.4442641247521038</c:v>
                </c:pt>
                <c:pt idx="85">
                  <c:v>3.2870570485186059</c:v>
                </c:pt>
                <c:pt idx="86">
                  <c:v>3.2155992865942884</c:v>
                </c:pt>
                <c:pt idx="87">
                  <c:v>3.3299317056731961</c:v>
                </c:pt>
                <c:pt idx="88">
                  <c:v>3.5443049914461491</c:v>
                </c:pt>
                <c:pt idx="89">
                  <c:v>3.429972572367241</c:v>
                </c:pt>
                <c:pt idx="90">
                  <c:v>3.6014712009856029</c:v>
                </c:pt>
                <c:pt idx="91">
                  <c:v>3.3299317056731965</c:v>
                </c:pt>
                <c:pt idx="92">
                  <c:v>3.5300134390612854</c:v>
                </c:pt>
                <c:pt idx="93">
                  <c:v>3.7158036200645106</c:v>
                </c:pt>
                <c:pt idx="94">
                  <c:v>3.6586374105250568</c:v>
                </c:pt>
                <c:pt idx="95">
                  <c:v>3.6300543057553298</c:v>
                </c:pt>
                <c:pt idx="96">
                  <c:v>3.8444275915282828</c:v>
                </c:pt>
                <c:pt idx="97">
                  <c:v>3.7586782772191012</c:v>
                </c:pt>
                <c:pt idx="98">
                  <c:v>3.9730515629920538</c:v>
                </c:pt>
                <c:pt idx="99">
                  <c:v>3.9158853534525995</c:v>
                </c:pt>
                <c:pt idx="100">
                  <c:v>3.8587191439131456</c:v>
                </c:pt>
                <c:pt idx="101">
                  <c:v>3.9158853534526004</c:v>
                </c:pt>
                <c:pt idx="102">
                  <c:v>4.0159262201466444</c:v>
                </c:pt>
                <c:pt idx="103">
                  <c:v>3.9158853534526004</c:v>
                </c:pt>
                <c:pt idx="104">
                  <c:v>4.1445501916104162</c:v>
                </c:pt>
                <c:pt idx="105">
                  <c:v>4.0445093249163708</c:v>
                </c:pt>
                <c:pt idx="106">
                  <c:v>4.2731741630741871</c:v>
                </c:pt>
                <c:pt idx="107">
                  <c:v>4.5161305536168665</c:v>
                </c:pt>
                <c:pt idx="108">
                  <c:v>4.687629182235229</c:v>
                </c:pt>
                <c:pt idx="109">
                  <c:v>4.7162122870049563</c:v>
                </c:pt>
                <c:pt idx="110">
                  <c:v>4.9162940203930452</c:v>
                </c:pt>
                <c:pt idx="111">
                  <c:v>4.973460229932499</c:v>
                </c:pt>
                <c:pt idx="112">
                  <c:v>5.1306673061659973</c:v>
                </c:pt>
                <c:pt idx="113">
                  <c:v>5.1163757537811341</c:v>
                </c:pt>
                <c:pt idx="114">
                  <c:v>5.1592504109357247</c:v>
                </c:pt>
                <c:pt idx="115">
                  <c:v>5.244999725244905</c:v>
                </c:pt>
                <c:pt idx="116">
                  <c:v>5.2878743823994956</c:v>
                </c:pt>
                <c:pt idx="117">
                  <c:v>5.2021250680903153</c:v>
                </c:pt>
                <c:pt idx="118">
                  <c:v>5.3307490395540862</c:v>
                </c:pt>
                <c:pt idx="119">
                  <c:v>5.3450405919389512</c:v>
                </c:pt>
                <c:pt idx="120">
                  <c:v>5.2307081728600417</c:v>
                </c:pt>
                <c:pt idx="121">
                  <c:v>4.9877517823173614</c:v>
                </c:pt>
                <c:pt idx="122">
                  <c:v>4.973460229932499</c:v>
                </c:pt>
                <c:pt idx="123">
                  <c:v>5.2021250680903153</c:v>
                </c:pt>
                <c:pt idx="124">
                  <c:v>5.3307490395540871</c:v>
                </c:pt>
                <c:pt idx="125">
                  <c:v>4.8734193632384546</c:v>
                </c:pt>
                <c:pt idx="126">
                  <c:v>4.973460229932499</c:v>
                </c:pt>
                <c:pt idx="127">
                  <c:v>5.1020842013962708</c:v>
                </c:pt>
                <c:pt idx="128">
                  <c:v>5.2592912776297691</c:v>
                </c:pt>
                <c:pt idx="129">
                  <c:v>5.3450405919389494</c:v>
                </c:pt>
                <c:pt idx="130">
                  <c:v>5.4450814586329939</c:v>
                </c:pt>
                <c:pt idx="131">
                  <c:v>5.6880378491756733</c:v>
                </c:pt>
                <c:pt idx="132">
                  <c:v>6.088201315951852</c:v>
                </c:pt>
                <c:pt idx="133">
                  <c:v>6.2025337350307606</c:v>
                </c:pt>
                <c:pt idx="134">
                  <c:v>6.2168252874156238</c:v>
                </c:pt>
                <c:pt idx="135">
                  <c:v>6.588405649422076</c:v>
                </c:pt>
                <c:pt idx="136">
                  <c:v>6.588405649422076</c:v>
                </c:pt>
                <c:pt idx="137">
                  <c:v>6.6741549637312554</c:v>
                </c:pt>
                <c:pt idx="138">
                  <c:v>6.5312394398826203</c:v>
                </c:pt>
                <c:pt idx="139">
                  <c:v>6.588405649422076</c:v>
                </c:pt>
                <c:pt idx="140">
                  <c:v>6.7741958304253007</c:v>
                </c:pt>
                <c:pt idx="141">
                  <c:v>6.8599451447344819</c:v>
                </c:pt>
                <c:pt idx="142">
                  <c:v>6.8742366971193452</c:v>
                </c:pt>
                <c:pt idx="143">
                  <c:v>7.2315255067409323</c:v>
                </c:pt>
                <c:pt idx="144">
                  <c:v>7.3887325829744315</c:v>
                </c:pt>
                <c:pt idx="145">
                  <c:v>7.8317707069051989</c:v>
                </c:pt>
                <c:pt idx="146">
                  <c:v>7.8460622592900631</c:v>
                </c:pt>
                <c:pt idx="147">
                  <c:v>7.6602720782868374</c:v>
                </c:pt>
                <c:pt idx="148">
                  <c:v>7.988977783138699</c:v>
                </c:pt>
                <c:pt idx="149">
                  <c:v>7.9461031259841084</c:v>
                </c:pt>
                <c:pt idx="150">
                  <c:v>8.0175608879084255</c:v>
                </c:pt>
                <c:pt idx="151">
                  <c:v>8.0461439926781519</c:v>
                </c:pt>
                <c:pt idx="152">
                  <c:v>7.5745227639776562</c:v>
                </c:pt>
                <c:pt idx="153">
                  <c:v>7.2172339543560691</c:v>
                </c:pt>
                <c:pt idx="154">
                  <c:v>6.6741549637312563</c:v>
                </c:pt>
                <c:pt idx="155">
                  <c:v>5.55941387771190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DFDA-43C6-A408-AE988A7E0E4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65992088"/>
        <c:axId val="1065984872"/>
      </c:lineChart>
      <c:dateAx>
        <c:axId val="1065992088"/>
        <c:scaling>
          <c:orientation val="minMax"/>
        </c:scaling>
        <c:delete val="0"/>
        <c:axPos val="b"/>
        <c:numFmt formatCode="m/d;@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65984872"/>
        <c:crosses val="autoZero"/>
        <c:auto val="1"/>
        <c:lblOffset val="100"/>
        <c:baseTimeUnit val="days"/>
        <c:majorUnit val="1"/>
        <c:majorTimeUnit val="months"/>
      </c:dateAx>
      <c:valAx>
        <c:axId val="1065984872"/>
        <c:scaling>
          <c:orientation val="minMax"/>
          <c:max val="75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65992088"/>
        <c:crosses val="autoZero"/>
        <c:crossBetween val="between"/>
        <c:majorUnit val="15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rgbClr val="00B050"/>
                </a:solidFill>
                <a:latin typeface="+mn-lt"/>
                <a:ea typeface="+mn-ea"/>
                <a:cs typeface="+mn-cs"/>
              </a:defRPr>
            </a:pPr>
            <a:r>
              <a:rPr lang="en-US" sz="1400" b="1">
                <a:solidFill>
                  <a:srgbClr val="00B050"/>
                </a:solidFill>
              </a:rPr>
              <a:t>STATE OF MICHIGAN WEEKLY</a:t>
            </a:r>
            <a:r>
              <a:rPr lang="en-US" sz="1400" b="1" baseline="0">
                <a:solidFill>
                  <a:srgbClr val="00B050"/>
                </a:solidFill>
              </a:rPr>
              <a:t> TOTAL </a:t>
            </a:r>
            <a:r>
              <a:rPr lang="en-US" sz="1400" b="1">
                <a:solidFill>
                  <a:srgbClr val="00B050"/>
                </a:solidFill>
              </a:rPr>
              <a:t>CONFIRMED COVID</a:t>
            </a:r>
            <a:r>
              <a:rPr lang="en-US" sz="1400" b="1" baseline="0">
                <a:solidFill>
                  <a:srgbClr val="00B050"/>
                </a:solidFill>
              </a:rPr>
              <a:t>-19 CASES IN SNF RESIDENTS AND STAFF </a:t>
            </a:r>
          </a:p>
          <a:p>
            <a:pPr>
              <a:defRPr b="1">
                <a:solidFill>
                  <a:srgbClr val="00B050"/>
                </a:solidFill>
              </a:defRPr>
            </a:pPr>
            <a:r>
              <a:rPr lang="en-US" sz="1400" b="1" baseline="0">
                <a:solidFill>
                  <a:srgbClr val="00B050"/>
                </a:solidFill>
              </a:rPr>
              <a:t>03/26/2021 TO 12/03/2021</a:t>
            </a:r>
            <a:endParaRPr lang="en-US" sz="1400" b="1">
              <a:solidFill>
                <a:srgbClr val="00B050"/>
              </a:solidFill>
            </a:endParaRPr>
          </a:p>
        </c:rich>
      </c:tx>
      <c:layout>
        <c:manualLayout>
          <c:xMode val="edge"/>
          <c:yMode val="edge"/>
          <c:x val="9.3971702755905509E-2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rgbClr val="00B050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4168090337371331"/>
          <c:y val="0.1735623177017708"/>
          <c:w val="0.83843419007545861"/>
          <c:h val="0.66770154083686095"/>
        </c:manualLayout>
      </c:layout>
      <c:lineChart>
        <c:grouping val="standard"/>
        <c:varyColors val="0"/>
        <c:ser>
          <c:idx val="0"/>
          <c:order val="0"/>
          <c:tx>
            <c:strRef>
              <c:f>'Trends 1'!$B$1</c:f>
              <c:strCache>
                <c:ptCount val="1"/>
                <c:pt idx="0">
                  <c:v>Weekly Total Confirmed Cases Resident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'Trends 1'!$A$46:$A$82</c:f>
              <c:numCache>
                <c:formatCode>m/d;@</c:formatCode>
                <c:ptCount val="37"/>
                <c:pt idx="0">
                  <c:v>44281</c:v>
                </c:pt>
                <c:pt idx="1">
                  <c:v>44288</c:v>
                </c:pt>
                <c:pt idx="2">
                  <c:v>44295</c:v>
                </c:pt>
                <c:pt idx="3">
                  <c:v>44302</c:v>
                </c:pt>
                <c:pt idx="4">
                  <c:v>44309</c:v>
                </c:pt>
                <c:pt idx="5">
                  <c:v>44316</c:v>
                </c:pt>
                <c:pt idx="6">
                  <c:v>44323</c:v>
                </c:pt>
                <c:pt idx="7">
                  <c:v>44330</c:v>
                </c:pt>
                <c:pt idx="8">
                  <c:v>44337</c:v>
                </c:pt>
                <c:pt idx="9">
                  <c:v>44344</c:v>
                </c:pt>
                <c:pt idx="10">
                  <c:v>44351</c:v>
                </c:pt>
                <c:pt idx="11">
                  <c:v>44358</c:v>
                </c:pt>
                <c:pt idx="12">
                  <c:v>44365</c:v>
                </c:pt>
                <c:pt idx="13">
                  <c:v>44372</c:v>
                </c:pt>
                <c:pt idx="14">
                  <c:v>44379</c:v>
                </c:pt>
                <c:pt idx="15">
                  <c:v>44386</c:v>
                </c:pt>
                <c:pt idx="16">
                  <c:v>44393</c:v>
                </c:pt>
                <c:pt idx="17">
                  <c:v>44400</c:v>
                </c:pt>
                <c:pt idx="18">
                  <c:v>44407</c:v>
                </c:pt>
                <c:pt idx="19">
                  <c:v>44414</c:v>
                </c:pt>
                <c:pt idx="20">
                  <c:v>44421</c:v>
                </c:pt>
                <c:pt idx="21">
                  <c:v>44428</c:v>
                </c:pt>
                <c:pt idx="22">
                  <c:v>44435</c:v>
                </c:pt>
                <c:pt idx="23">
                  <c:v>44442</c:v>
                </c:pt>
                <c:pt idx="24">
                  <c:v>44449</c:v>
                </c:pt>
                <c:pt idx="25">
                  <c:v>44456</c:v>
                </c:pt>
                <c:pt idx="26">
                  <c:v>44463</c:v>
                </c:pt>
                <c:pt idx="27">
                  <c:v>44470</c:v>
                </c:pt>
                <c:pt idx="28">
                  <c:v>44477</c:v>
                </c:pt>
                <c:pt idx="29">
                  <c:v>44484</c:v>
                </c:pt>
                <c:pt idx="30">
                  <c:v>44491</c:v>
                </c:pt>
                <c:pt idx="31">
                  <c:v>44498</c:v>
                </c:pt>
                <c:pt idx="32">
                  <c:v>44505</c:v>
                </c:pt>
                <c:pt idx="33">
                  <c:v>44512</c:v>
                </c:pt>
                <c:pt idx="34">
                  <c:v>44517</c:v>
                </c:pt>
                <c:pt idx="35">
                  <c:v>44526</c:v>
                </c:pt>
                <c:pt idx="36">
                  <c:v>44533</c:v>
                </c:pt>
              </c:numCache>
            </c:numRef>
          </c:cat>
          <c:val>
            <c:numRef>
              <c:f>'Trends 1'!$B$46:$B$82</c:f>
              <c:numCache>
                <c:formatCode>0</c:formatCode>
                <c:ptCount val="37"/>
                <c:pt idx="0">
                  <c:v>50</c:v>
                </c:pt>
                <c:pt idx="1">
                  <c:v>53</c:v>
                </c:pt>
                <c:pt idx="2">
                  <c:v>59</c:v>
                </c:pt>
                <c:pt idx="3">
                  <c:v>62</c:v>
                </c:pt>
                <c:pt idx="4">
                  <c:v>83</c:v>
                </c:pt>
                <c:pt idx="5">
                  <c:v>67</c:v>
                </c:pt>
                <c:pt idx="6">
                  <c:v>55</c:v>
                </c:pt>
                <c:pt idx="7">
                  <c:v>55</c:v>
                </c:pt>
                <c:pt idx="8">
                  <c:v>60</c:v>
                </c:pt>
                <c:pt idx="9">
                  <c:v>43</c:v>
                </c:pt>
                <c:pt idx="10">
                  <c:v>13</c:v>
                </c:pt>
                <c:pt idx="11">
                  <c:v>8</c:v>
                </c:pt>
                <c:pt idx="12">
                  <c:v>9</c:v>
                </c:pt>
                <c:pt idx="13">
                  <c:v>0</c:v>
                </c:pt>
                <c:pt idx="14">
                  <c:v>2</c:v>
                </c:pt>
                <c:pt idx="15">
                  <c:v>1</c:v>
                </c:pt>
                <c:pt idx="16">
                  <c:v>6</c:v>
                </c:pt>
                <c:pt idx="17">
                  <c:v>13</c:v>
                </c:pt>
                <c:pt idx="18">
                  <c:v>25</c:v>
                </c:pt>
                <c:pt idx="19">
                  <c:v>23</c:v>
                </c:pt>
                <c:pt idx="20">
                  <c:v>26</c:v>
                </c:pt>
                <c:pt idx="21">
                  <c:v>53</c:v>
                </c:pt>
                <c:pt idx="22">
                  <c:v>78</c:v>
                </c:pt>
                <c:pt idx="23">
                  <c:v>64</c:v>
                </c:pt>
                <c:pt idx="24">
                  <c:v>59</c:v>
                </c:pt>
                <c:pt idx="25">
                  <c:v>69</c:v>
                </c:pt>
                <c:pt idx="26">
                  <c:v>79</c:v>
                </c:pt>
                <c:pt idx="27">
                  <c:v>77</c:v>
                </c:pt>
                <c:pt idx="28">
                  <c:v>81</c:v>
                </c:pt>
                <c:pt idx="29">
                  <c:v>87</c:v>
                </c:pt>
                <c:pt idx="30">
                  <c:v>90</c:v>
                </c:pt>
                <c:pt idx="31">
                  <c:v>130</c:v>
                </c:pt>
                <c:pt idx="32">
                  <c:v>187</c:v>
                </c:pt>
                <c:pt idx="33">
                  <c:v>298</c:v>
                </c:pt>
                <c:pt idx="34">
                  <c:v>508</c:v>
                </c:pt>
                <c:pt idx="35">
                  <c:v>560</c:v>
                </c:pt>
                <c:pt idx="36">
                  <c:v>31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FDD-4841-AC2D-93674141CD1F}"/>
            </c:ext>
          </c:extLst>
        </c:ser>
        <c:ser>
          <c:idx val="1"/>
          <c:order val="1"/>
          <c:tx>
            <c:strRef>
              <c:f>'Trends 1'!$C$1</c:f>
              <c:strCache>
                <c:ptCount val="1"/>
                <c:pt idx="0">
                  <c:v>Weekly Total Confirm Cases Staff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'Trends 1'!$A$46:$A$82</c:f>
              <c:numCache>
                <c:formatCode>m/d;@</c:formatCode>
                <c:ptCount val="37"/>
                <c:pt idx="0">
                  <c:v>44281</c:v>
                </c:pt>
                <c:pt idx="1">
                  <c:v>44288</c:v>
                </c:pt>
                <c:pt idx="2">
                  <c:v>44295</c:v>
                </c:pt>
                <c:pt idx="3">
                  <c:v>44302</c:v>
                </c:pt>
                <c:pt idx="4">
                  <c:v>44309</c:v>
                </c:pt>
                <c:pt idx="5">
                  <c:v>44316</c:v>
                </c:pt>
                <c:pt idx="6">
                  <c:v>44323</c:v>
                </c:pt>
                <c:pt idx="7">
                  <c:v>44330</c:v>
                </c:pt>
                <c:pt idx="8">
                  <c:v>44337</c:v>
                </c:pt>
                <c:pt idx="9">
                  <c:v>44344</c:v>
                </c:pt>
                <c:pt idx="10">
                  <c:v>44351</c:v>
                </c:pt>
                <c:pt idx="11">
                  <c:v>44358</c:v>
                </c:pt>
                <c:pt idx="12">
                  <c:v>44365</c:v>
                </c:pt>
                <c:pt idx="13">
                  <c:v>44372</c:v>
                </c:pt>
                <c:pt idx="14">
                  <c:v>44379</c:v>
                </c:pt>
                <c:pt idx="15">
                  <c:v>44386</c:v>
                </c:pt>
                <c:pt idx="16">
                  <c:v>44393</c:v>
                </c:pt>
                <c:pt idx="17">
                  <c:v>44400</c:v>
                </c:pt>
                <c:pt idx="18">
                  <c:v>44407</c:v>
                </c:pt>
                <c:pt idx="19">
                  <c:v>44414</c:v>
                </c:pt>
                <c:pt idx="20">
                  <c:v>44421</c:v>
                </c:pt>
                <c:pt idx="21">
                  <c:v>44428</c:v>
                </c:pt>
                <c:pt idx="22">
                  <c:v>44435</c:v>
                </c:pt>
                <c:pt idx="23">
                  <c:v>44442</c:v>
                </c:pt>
                <c:pt idx="24">
                  <c:v>44449</c:v>
                </c:pt>
                <c:pt idx="25">
                  <c:v>44456</c:v>
                </c:pt>
                <c:pt idx="26">
                  <c:v>44463</c:v>
                </c:pt>
                <c:pt idx="27">
                  <c:v>44470</c:v>
                </c:pt>
                <c:pt idx="28">
                  <c:v>44477</c:v>
                </c:pt>
                <c:pt idx="29">
                  <c:v>44484</c:v>
                </c:pt>
                <c:pt idx="30">
                  <c:v>44491</c:v>
                </c:pt>
                <c:pt idx="31">
                  <c:v>44498</c:v>
                </c:pt>
                <c:pt idx="32">
                  <c:v>44505</c:v>
                </c:pt>
                <c:pt idx="33">
                  <c:v>44512</c:v>
                </c:pt>
                <c:pt idx="34">
                  <c:v>44517</c:v>
                </c:pt>
                <c:pt idx="35">
                  <c:v>44526</c:v>
                </c:pt>
                <c:pt idx="36">
                  <c:v>44533</c:v>
                </c:pt>
              </c:numCache>
            </c:numRef>
          </c:cat>
          <c:val>
            <c:numRef>
              <c:f>'Trends 1'!$C$46:$C$82</c:f>
              <c:numCache>
                <c:formatCode>0</c:formatCode>
                <c:ptCount val="37"/>
                <c:pt idx="0">
                  <c:v>176</c:v>
                </c:pt>
                <c:pt idx="1">
                  <c:v>262</c:v>
                </c:pt>
                <c:pt idx="2">
                  <c:v>287</c:v>
                </c:pt>
                <c:pt idx="3">
                  <c:v>345</c:v>
                </c:pt>
                <c:pt idx="4">
                  <c:v>257</c:v>
                </c:pt>
                <c:pt idx="5">
                  <c:v>191</c:v>
                </c:pt>
                <c:pt idx="6">
                  <c:v>146</c:v>
                </c:pt>
                <c:pt idx="7">
                  <c:v>151</c:v>
                </c:pt>
                <c:pt idx="8">
                  <c:v>91</c:v>
                </c:pt>
                <c:pt idx="9">
                  <c:v>55</c:v>
                </c:pt>
                <c:pt idx="10">
                  <c:v>30</c:v>
                </c:pt>
                <c:pt idx="11">
                  <c:v>15</c:v>
                </c:pt>
                <c:pt idx="12">
                  <c:v>11</c:v>
                </c:pt>
                <c:pt idx="13">
                  <c:v>5</c:v>
                </c:pt>
                <c:pt idx="14">
                  <c:v>7</c:v>
                </c:pt>
                <c:pt idx="15">
                  <c:v>9</c:v>
                </c:pt>
                <c:pt idx="16">
                  <c:v>15</c:v>
                </c:pt>
                <c:pt idx="17">
                  <c:v>18</c:v>
                </c:pt>
                <c:pt idx="18">
                  <c:v>46</c:v>
                </c:pt>
                <c:pt idx="19">
                  <c:v>51</c:v>
                </c:pt>
                <c:pt idx="20">
                  <c:v>90</c:v>
                </c:pt>
                <c:pt idx="21">
                  <c:v>85</c:v>
                </c:pt>
                <c:pt idx="22">
                  <c:v>111</c:v>
                </c:pt>
                <c:pt idx="23">
                  <c:v>102</c:v>
                </c:pt>
                <c:pt idx="24">
                  <c:v>115</c:v>
                </c:pt>
                <c:pt idx="25">
                  <c:v>144</c:v>
                </c:pt>
                <c:pt idx="26">
                  <c:v>142</c:v>
                </c:pt>
                <c:pt idx="27">
                  <c:v>175</c:v>
                </c:pt>
                <c:pt idx="28">
                  <c:v>237</c:v>
                </c:pt>
                <c:pt idx="29">
                  <c:v>227</c:v>
                </c:pt>
                <c:pt idx="30">
                  <c:v>184</c:v>
                </c:pt>
                <c:pt idx="31">
                  <c:v>222</c:v>
                </c:pt>
                <c:pt idx="32">
                  <c:v>272</c:v>
                </c:pt>
                <c:pt idx="33">
                  <c:v>404</c:v>
                </c:pt>
                <c:pt idx="34">
                  <c:v>499</c:v>
                </c:pt>
                <c:pt idx="35">
                  <c:v>486</c:v>
                </c:pt>
                <c:pt idx="36">
                  <c:v>4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FDD-4841-AC2D-93674141CD1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077943823"/>
        <c:axId val="1075189007"/>
      </c:lineChart>
      <c:dateAx>
        <c:axId val="1077943823"/>
        <c:scaling>
          <c:orientation val="minMax"/>
          <c:max val="44533"/>
        </c:scaling>
        <c:delete val="0"/>
        <c:axPos val="b"/>
        <c:numFmt formatCode="m/d;@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75189007"/>
        <c:crosses val="autoZero"/>
        <c:auto val="1"/>
        <c:lblOffset val="100"/>
        <c:baseTimeUnit val="days"/>
        <c:majorUnit val="1"/>
        <c:majorTimeUnit val="months"/>
      </c:dateAx>
      <c:valAx>
        <c:axId val="1075189007"/>
        <c:scaling>
          <c:orientation val="minMax"/>
          <c:max val="6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7794382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1429555115522576"/>
          <c:y val="0.92371596216692398"/>
          <c:w val="0.78466571773856342"/>
          <c:h val="4.929493072824074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  <c:userShapes r:id="rId5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spc="0" baseline="0">
                <a:solidFill>
                  <a:srgbClr val="00B050"/>
                </a:solidFill>
                <a:latin typeface="+mn-lt"/>
                <a:ea typeface="+mn-ea"/>
                <a:cs typeface="+mn-cs"/>
              </a:defRPr>
            </a:pPr>
            <a:r>
              <a:rPr lang="en-US" sz="1600" b="1">
                <a:solidFill>
                  <a:srgbClr val="00B050"/>
                </a:solidFill>
              </a:rPr>
              <a:t>Number of SNFs </a:t>
            </a:r>
            <a:r>
              <a:rPr lang="en-US" sz="1600" b="1" i="0" u="none" strike="noStrike" baseline="0">
                <a:solidFill>
                  <a:srgbClr val="00B050"/>
                </a:solidFill>
                <a:effectLst/>
              </a:rPr>
              <a:t>with 3 or more Confirmed Cases</a:t>
            </a:r>
            <a:endParaRPr lang="en-US" sz="1600" b="1">
              <a:solidFill>
                <a:srgbClr val="00B050"/>
              </a:solidFill>
            </a:endParaRPr>
          </a:p>
        </c:rich>
      </c:tx>
      <c:layout>
        <c:manualLayout>
          <c:xMode val="edge"/>
          <c:yMode val="edge"/>
          <c:x val="0.17467985048240614"/>
          <c:y val="3.2375040628126774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spc="0" baseline="0">
              <a:solidFill>
                <a:srgbClr val="00B050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2467777806534319"/>
          <c:y val="0.15809289494300988"/>
          <c:w val="0.82979034339269653"/>
          <c:h val="0.7173816774985694"/>
        </c:manualLayout>
      </c:layout>
      <c:lineChart>
        <c:grouping val="standar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Number of SNFs with outbreak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Sheet1!$D$21:$D$57</c:f>
              <c:numCache>
                <c:formatCode>m/d;@</c:formatCode>
                <c:ptCount val="37"/>
                <c:pt idx="0">
                  <c:v>44281</c:v>
                </c:pt>
                <c:pt idx="1">
                  <c:v>44288</c:v>
                </c:pt>
                <c:pt idx="2">
                  <c:v>44295</c:v>
                </c:pt>
                <c:pt idx="3">
                  <c:v>44302</c:v>
                </c:pt>
                <c:pt idx="4">
                  <c:v>44309</c:v>
                </c:pt>
                <c:pt idx="5">
                  <c:v>44316</c:v>
                </c:pt>
                <c:pt idx="6">
                  <c:v>44323</c:v>
                </c:pt>
                <c:pt idx="7">
                  <c:v>44330</c:v>
                </c:pt>
                <c:pt idx="8">
                  <c:v>44337</c:v>
                </c:pt>
                <c:pt idx="9">
                  <c:v>44344</c:v>
                </c:pt>
                <c:pt idx="10">
                  <c:v>44351</c:v>
                </c:pt>
                <c:pt idx="11">
                  <c:v>44358</c:v>
                </c:pt>
                <c:pt idx="12">
                  <c:v>44365</c:v>
                </c:pt>
                <c:pt idx="13">
                  <c:v>44372</c:v>
                </c:pt>
                <c:pt idx="14">
                  <c:v>44379</c:v>
                </c:pt>
                <c:pt idx="15">
                  <c:v>44386</c:v>
                </c:pt>
                <c:pt idx="16">
                  <c:v>44393</c:v>
                </c:pt>
                <c:pt idx="17">
                  <c:v>44400</c:v>
                </c:pt>
                <c:pt idx="18">
                  <c:v>44407</c:v>
                </c:pt>
                <c:pt idx="19">
                  <c:v>44414</c:v>
                </c:pt>
                <c:pt idx="20">
                  <c:v>44421</c:v>
                </c:pt>
                <c:pt idx="21">
                  <c:v>44428</c:v>
                </c:pt>
                <c:pt idx="22">
                  <c:v>44435</c:v>
                </c:pt>
                <c:pt idx="23">
                  <c:v>44442</c:v>
                </c:pt>
                <c:pt idx="24">
                  <c:v>44449</c:v>
                </c:pt>
                <c:pt idx="25">
                  <c:v>44456</c:v>
                </c:pt>
                <c:pt idx="26">
                  <c:v>44463</c:v>
                </c:pt>
                <c:pt idx="27">
                  <c:v>44470</c:v>
                </c:pt>
                <c:pt idx="28">
                  <c:v>44477</c:v>
                </c:pt>
                <c:pt idx="29">
                  <c:v>44484</c:v>
                </c:pt>
                <c:pt idx="30">
                  <c:v>44491</c:v>
                </c:pt>
                <c:pt idx="31">
                  <c:v>44498</c:v>
                </c:pt>
                <c:pt idx="32">
                  <c:v>44505</c:v>
                </c:pt>
                <c:pt idx="33">
                  <c:v>44512</c:v>
                </c:pt>
                <c:pt idx="34">
                  <c:v>44519</c:v>
                </c:pt>
                <c:pt idx="35">
                  <c:v>44526</c:v>
                </c:pt>
                <c:pt idx="36">
                  <c:v>44533</c:v>
                </c:pt>
              </c:numCache>
            </c:numRef>
          </c:cat>
          <c:val>
            <c:numRef>
              <c:f>Sheet1!$E$21:$E$57</c:f>
              <c:numCache>
                <c:formatCode>General</c:formatCode>
                <c:ptCount val="37"/>
                <c:pt idx="0">
                  <c:v>4</c:v>
                </c:pt>
                <c:pt idx="1">
                  <c:v>3</c:v>
                </c:pt>
                <c:pt idx="2">
                  <c:v>7</c:v>
                </c:pt>
                <c:pt idx="3">
                  <c:v>6</c:v>
                </c:pt>
                <c:pt idx="4">
                  <c:v>9</c:v>
                </c:pt>
                <c:pt idx="5">
                  <c:v>7</c:v>
                </c:pt>
                <c:pt idx="6">
                  <c:v>5</c:v>
                </c:pt>
                <c:pt idx="7">
                  <c:v>7</c:v>
                </c:pt>
                <c:pt idx="8">
                  <c:v>6</c:v>
                </c:pt>
                <c:pt idx="9">
                  <c:v>4</c:v>
                </c:pt>
                <c:pt idx="10">
                  <c:v>0</c:v>
                </c:pt>
                <c:pt idx="11">
                  <c:v>1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1</c:v>
                </c:pt>
                <c:pt idx="18">
                  <c:v>2</c:v>
                </c:pt>
                <c:pt idx="19">
                  <c:v>4</c:v>
                </c:pt>
                <c:pt idx="20">
                  <c:v>3</c:v>
                </c:pt>
                <c:pt idx="21">
                  <c:v>4</c:v>
                </c:pt>
                <c:pt idx="22">
                  <c:v>11</c:v>
                </c:pt>
                <c:pt idx="23">
                  <c:v>7</c:v>
                </c:pt>
                <c:pt idx="24">
                  <c:v>7</c:v>
                </c:pt>
                <c:pt idx="25">
                  <c:v>10</c:v>
                </c:pt>
                <c:pt idx="26">
                  <c:v>10</c:v>
                </c:pt>
                <c:pt idx="27">
                  <c:v>6</c:v>
                </c:pt>
                <c:pt idx="28">
                  <c:v>10</c:v>
                </c:pt>
                <c:pt idx="29">
                  <c:v>11</c:v>
                </c:pt>
                <c:pt idx="30">
                  <c:v>8</c:v>
                </c:pt>
                <c:pt idx="31">
                  <c:v>18</c:v>
                </c:pt>
                <c:pt idx="32">
                  <c:v>25</c:v>
                </c:pt>
                <c:pt idx="33">
                  <c:v>31</c:v>
                </c:pt>
                <c:pt idx="34">
                  <c:v>53</c:v>
                </c:pt>
                <c:pt idx="35">
                  <c:v>62</c:v>
                </c:pt>
                <c:pt idx="36">
                  <c:v>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4A8-4689-92F4-6EBC49A876C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18953128"/>
        <c:axId val="418947552"/>
      </c:lineChart>
      <c:dateAx>
        <c:axId val="418953128"/>
        <c:scaling>
          <c:orientation val="minMax"/>
          <c:max val="44533"/>
        </c:scaling>
        <c:delete val="0"/>
        <c:axPos val="b"/>
        <c:numFmt formatCode="m/d;@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18947552"/>
        <c:crosses val="autoZero"/>
        <c:auto val="1"/>
        <c:lblOffset val="100"/>
        <c:baseTimeUnit val="days"/>
      </c:dateAx>
      <c:valAx>
        <c:axId val="4189475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189531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  <c:userShapes r:id="rId5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0835</cdr:x>
      <cdr:y>0.25599</cdr:y>
    </cdr:from>
    <cdr:to>
      <cdr:x>0.05362</cdr:x>
      <cdr:y>0.57193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0DEBCC56-E638-43C9-9946-452FFA557F6F}"/>
            </a:ext>
          </a:extLst>
        </cdr:cNvPr>
        <cdr:cNvSpPr txBox="1"/>
      </cdr:nvSpPr>
      <cdr:spPr>
        <a:xfrm xmlns:a="http://schemas.openxmlformats.org/drawingml/2006/main" rot="16200000">
          <a:off x="-555118" y="1810965"/>
          <a:ext cx="1487282" cy="275446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200" b="1" dirty="0"/>
            <a:t>Number of Cases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0166</cdr:x>
      <cdr:y>0.27676</cdr:y>
    </cdr:from>
    <cdr:to>
      <cdr:x>0.07019</cdr:x>
      <cdr:y>0.6559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05884812-97F4-4D02-8C7D-0124B44D0773}"/>
            </a:ext>
          </a:extLst>
        </cdr:cNvPr>
        <cdr:cNvSpPr txBox="1"/>
      </cdr:nvSpPr>
      <cdr:spPr>
        <a:xfrm xmlns:a="http://schemas.openxmlformats.org/drawingml/2006/main" rot="16200000">
          <a:off x="-520653" y="1691610"/>
          <a:ext cx="1487281" cy="275395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200" b="1" dirty="0"/>
            <a:t>Number of Facilities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A0E183-D770-4AD8-8188-D027E2391945}" type="datetimeFigureOut">
              <a:rPr lang="en-US" smtClean="0"/>
              <a:t>12/8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1134383-9C6A-4F4A-9418-83031C57E5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89475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-82550" y="220663"/>
            <a:ext cx="7383463" cy="41544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553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en-US">
              <a:solidFill>
                <a:schemeClr val="accent2"/>
              </a:solidFill>
            </a:endParaRPr>
          </a:p>
        </p:txBody>
      </p:sp>
      <p:sp>
        <p:nvSpPr>
          <p:cNvPr id="65540" name="Slide Number Placeholder 3"/>
          <p:cNvSpPr>
            <a:spLocks noGrp="1"/>
          </p:cNvSpPr>
          <p:nvPr>
            <p:ph type="sldNum" sz="quarter" idx="5"/>
          </p:nvPr>
        </p:nvSpPr>
        <p:spPr bwMode="auto">
          <a:xfrm>
            <a:off x="3956349" y="8818596"/>
            <a:ext cx="3027137" cy="4635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7207" tIns="43604" rIns="87207" bIns="43604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34989" indent="-282687" eaLnBrk="0" hangingPunct="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30752" indent="-226150" eaLnBrk="0" hangingPunct="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583053" indent="-226150" eaLnBrk="0" hangingPunct="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35354" indent="-226150" eaLnBrk="0" hangingPunct="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487654" indent="-226150" defTabSz="45230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39955" indent="-226150" defTabSz="45230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392256" indent="-226150" defTabSz="45230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44557" indent="-226150" defTabSz="45230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marL="0" marR="0" lvl="0" indent="0" algn="r" defTabSz="45713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B663E1B-76B7-4BEA-896C-79D349B1F3EE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ＭＳ Ｐゴシック" pitchFamily="34" charset="-128"/>
                <a:cs typeface="+mn-cs"/>
              </a:rPr>
              <a:pPr marL="0" marR="0" lvl="0" indent="0" algn="r" defTabSz="45713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ＭＳ Ｐゴシック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048820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10" Type="http://schemas.openxmlformats.org/officeDocument/2006/relationships/image" Target="../media/image1.emf"/><Relationship Id="rId4" Type="http://schemas.openxmlformats.org/officeDocument/2006/relationships/tags" Target="../tags/tag4.xml"/><Relationship Id="rId9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312248-BBC0-49CD-85E2-20EB89FE6FA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0AA9EAB-E174-41B7-AD89-F6474191FB0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87807D3-32C0-453F-B66D-B049E5E631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A2E8F4-2EF7-4B17-9336-51E49DD645BF}" type="datetimeFigureOut">
              <a:rPr lang="en-US" smtClean="0"/>
              <a:t>12/8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F471535-9451-41C4-967D-3473D2CB11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866CC0-D4D2-418B-810A-DC41E7DBAE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3DA6B5-B9E2-408F-AD66-A7CCA09F36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749065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DA3E1A-62C1-4666-A8B7-5837532A60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81E7A90-542A-42CF-9F39-548EC5B4678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65ECBD1-E7B1-4E4B-AF21-64C5018543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A2E8F4-2EF7-4B17-9336-51E49DD645BF}" type="datetimeFigureOut">
              <a:rPr lang="en-US" smtClean="0"/>
              <a:t>12/8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124407-AC1D-4EDB-A208-E8888DD314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3FD855-E2ED-43BB-9576-BB974FF8EA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3DA6B5-B9E2-408F-AD66-A7CCA09F36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57547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06FD233-96FD-43D9-BF12-48F05F99896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C40D6E0-3E30-4C67-970B-BEB5A99DB3E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5255E1B-5334-4BE0-9CC5-4BAFAB67BC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A2E8F4-2EF7-4B17-9336-51E49DD645BF}" type="datetimeFigureOut">
              <a:rPr lang="en-US" smtClean="0"/>
              <a:t>12/8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AC072D0-78AC-4612-84BD-3B825BD3C7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A615C4-6DC8-4B6A-B9FA-BDBDF99EFF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3DA6B5-B9E2-408F-AD66-A7CCA09F36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758173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77932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7520730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4AA944-E2E0-4550-BF3B-8D3320E7FD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1D3CFF8-5395-43E1-B023-50F562C7AE5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FC9DF7A-55C4-454F-8033-013D1B93B4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A2E8F4-2EF7-4B17-9336-51E49DD645BF}" type="datetimeFigureOut">
              <a:rPr lang="en-US" smtClean="0"/>
              <a:t>12/8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F6175A-AA9C-4E21-84BA-4E3939A6F3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B433AF3-9724-4464-9260-68173A50D6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3DA6B5-B9E2-408F-AD66-A7CCA09F36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097181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495024-BD8A-4032-B30B-ECFDF3C7DA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9B0F456-E0AD-4E58-BEDE-E287168DE84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09DBFD-1C0C-452C-BBE8-B8E27044FB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A2E8F4-2EF7-4B17-9336-51E49DD645BF}" type="datetimeFigureOut">
              <a:rPr lang="en-US" smtClean="0"/>
              <a:t>12/8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7863E16-497B-4753-9087-68A1D895C4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2385CDE-1D96-4B9E-8BD1-3354F10169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3DA6B5-B9E2-408F-AD66-A7CCA09F36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447863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3CBB75-4215-45D5-A38C-02F7242EA7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1E72E23-3963-43FE-94F9-3730DF6C0F4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FDCCAA9-CDDD-43CB-BE55-1090A0DD120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3C8B7FA-2DEA-43AE-AC40-3854250BBA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A2E8F4-2EF7-4B17-9336-51E49DD645BF}" type="datetimeFigureOut">
              <a:rPr lang="en-US" smtClean="0"/>
              <a:t>12/8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9F52A31-60EB-4F01-8E04-21315F6BB4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6153D71-927C-43C7-93AA-FDB5047B65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3DA6B5-B9E2-408F-AD66-A7CCA09F36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75013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EF5C6E-0A63-4581-BC2F-77B97DBB69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B75B636-FCAF-4EC3-B754-E24FFC1E215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517DA77-9F6F-4690-BD3D-C7E10647B0A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D4E39AE-5CE8-4606-88C4-AE68B97B7EE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935CD8F-4391-408D-B300-59002F5141F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5FFCFAC-80A3-423F-B29A-E0C906F8A4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A2E8F4-2EF7-4B17-9336-51E49DD645BF}" type="datetimeFigureOut">
              <a:rPr lang="en-US" smtClean="0"/>
              <a:t>12/8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9BD64CB-B5C2-41D7-85E3-4D173CC5B4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6CA484E-0CCA-485B-B360-5BB54D27B1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3DA6B5-B9E2-408F-AD66-A7CCA09F36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9301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55D31E-C9C5-446C-9C7A-833449BF2D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78E387E-DE7B-4083-861D-F0BC5222C2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A2E8F4-2EF7-4B17-9336-51E49DD645BF}" type="datetimeFigureOut">
              <a:rPr lang="en-US" smtClean="0"/>
              <a:t>12/8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2CCD49-0935-4D73-B57C-6C6D1160DD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F7F20D5-5A76-406E-AA4E-E7834FADDD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3DA6B5-B9E2-408F-AD66-A7CCA09F36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48260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4DE277-2BF9-4834-991C-C215FE02D4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A2E8F4-2EF7-4B17-9336-51E49DD645BF}" type="datetimeFigureOut">
              <a:rPr lang="en-US" smtClean="0"/>
              <a:t>12/8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8FA805B-F059-41B0-B052-95A1909B3F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E7DD97-56B0-49D9-B8D5-F03EF7F21C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3DA6B5-B9E2-408F-AD66-A7CCA09F36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76876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AED895-DD40-497E-89FF-1DF765D9EE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29CC51C-9D02-49BF-BEFD-CC3D44D5C6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B3BE1EE-1557-4C2D-822E-8BAC26102A4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0D1981E-448E-4A9C-9E01-94EDC1A4C0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A2E8F4-2EF7-4B17-9336-51E49DD645BF}" type="datetimeFigureOut">
              <a:rPr lang="en-US" smtClean="0"/>
              <a:t>12/8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29DDD76-731C-4104-B304-1903E0FB20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533FAC0-0672-4B3D-9AF0-615308ADAF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3DA6B5-B9E2-408F-AD66-A7CCA09F36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168276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BC7C88-6C77-410B-A212-9DCF198550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E5C44BA-5B3D-4AFA-BAE7-69D1E8B2BEB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1F8708E-BFAE-46E9-93D3-F454B249EAB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267568F-5C30-41BF-A7C0-CF9BC314AF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A2E8F4-2EF7-4B17-9336-51E49DD645BF}" type="datetimeFigureOut">
              <a:rPr lang="en-US" smtClean="0"/>
              <a:t>12/8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4DA8856-F61C-4FD9-8FF6-3412A42773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63DF4D5-0441-44FD-9827-A919EF3D31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3DA6B5-B9E2-408F-AD66-A7CCA09F36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29380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41B087D-4E67-4513-96C0-3CF8B64DDB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AF0BE75-9EAF-4DAA-9098-D573C1FE72B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AB21AF-28D5-4307-8F3A-5DB5D5A1A8F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A2E8F4-2EF7-4B17-9336-51E49DD645BF}" type="datetimeFigureOut">
              <a:rPr lang="en-US" smtClean="0"/>
              <a:t>12/8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AE743E7-CC77-41BF-9487-A86BBABE92C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3CFD85-05FC-4C4D-8615-021C486A5FA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33DA6B5-B9E2-408F-AD66-A7CCA09F36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66887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hyperlink" Target="mailto:MDHHS-COVID-LongTermCare@Michigan.gov" TargetMode="Externa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hyperlink" Target="mailto:MDHHS-COVID-LongTermCare@Michigan.gov" TargetMode="Externa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s://data.cms.gov/covid-19/covid-19-nursing-home-data" TargetMode="External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data.cms.gov/covid-19/covid-19-nursing-home-data" TargetMode="External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dc.gov/nhsn/covid19/ltc-vaccination-dashboard.html" TargetMode="External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hyperlink" Target="mailto:MDHHS-COVID-LongTermCare@Michigan.gov" TargetMode="Externa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13" Type="http://schemas.openxmlformats.org/officeDocument/2006/relationships/tags" Target="../tags/tag20.xml"/><Relationship Id="rId18" Type="http://schemas.openxmlformats.org/officeDocument/2006/relationships/tags" Target="../tags/tag25.xml"/><Relationship Id="rId26" Type="http://schemas.openxmlformats.org/officeDocument/2006/relationships/tags" Target="../tags/tag33.xml"/><Relationship Id="rId39" Type="http://schemas.openxmlformats.org/officeDocument/2006/relationships/chart" Target="../charts/chart2.xml"/><Relationship Id="rId3" Type="http://schemas.openxmlformats.org/officeDocument/2006/relationships/tags" Target="../tags/tag10.xml"/><Relationship Id="rId21" Type="http://schemas.openxmlformats.org/officeDocument/2006/relationships/tags" Target="../tags/tag28.xml"/><Relationship Id="rId34" Type="http://schemas.openxmlformats.org/officeDocument/2006/relationships/tags" Target="../tags/tag41.xml"/><Relationship Id="rId7" Type="http://schemas.openxmlformats.org/officeDocument/2006/relationships/tags" Target="../tags/tag14.xml"/><Relationship Id="rId12" Type="http://schemas.openxmlformats.org/officeDocument/2006/relationships/tags" Target="../tags/tag19.xml"/><Relationship Id="rId17" Type="http://schemas.openxmlformats.org/officeDocument/2006/relationships/tags" Target="../tags/tag24.xml"/><Relationship Id="rId25" Type="http://schemas.openxmlformats.org/officeDocument/2006/relationships/tags" Target="../tags/tag32.xml"/><Relationship Id="rId33" Type="http://schemas.openxmlformats.org/officeDocument/2006/relationships/tags" Target="../tags/tag40.xml"/><Relationship Id="rId38" Type="http://schemas.openxmlformats.org/officeDocument/2006/relationships/chart" Target="../charts/chart1.xml"/><Relationship Id="rId2" Type="http://schemas.openxmlformats.org/officeDocument/2006/relationships/tags" Target="../tags/tag9.xml"/><Relationship Id="rId16" Type="http://schemas.openxmlformats.org/officeDocument/2006/relationships/tags" Target="../tags/tag23.xml"/><Relationship Id="rId20" Type="http://schemas.openxmlformats.org/officeDocument/2006/relationships/tags" Target="../tags/tag27.xml"/><Relationship Id="rId29" Type="http://schemas.openxmlformats.org/officeDocument/2006/relationships/tags" Target="../tags/tag36.xml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11" Type="http://schemas.openxmlformats.org/officeDocument/2006/relationships/tags" Target="../tags/tag18.xml"/><Relationship Id="rId24" Type="http://schemas.openxmlformats.org/officeDocument/2006/relationships/tags" Target="../tags/tag31.xml"/><Relationship Id="rId32" Type="http://schemas.openxmlformats.org/officeDocument/2006/relationships/tags" Target="../tags/tag39.xml"/><Relationship Id="rId37" Type="http://schemas.openxmlformats.org/officeDocument/2006/relationships/image" Target="../media/image7.emf"/><Relationship Id="rId5" Type="http://schemas.openxmlformats.org/officeDocument/2006/relationships/tags" Target="../tags/tag12.xml"/><Relationship Id="rId15" Type="http://schemas.openxmlformats.org/officeDocument/2006/relationships/tags" Target="../tags/tag22.xml"/><Relationship Id="rId23" Type="http://schemas.openxmlformats.org/officeDocument/2006/relationships/tags" Target="../tags/tag30.xml"/><Relationship Id="rId28" Type="http://schemas.openxmlformats.org/officeDocument/2006/relationships/tags" Target="../tags/tag35.xml"/><Relationship Id="rId36" Type="http://schemas.openxmlformats.org/officeDocument/2006/relationships/oleObject" Target="../embeddings/oleObject2.bin"/><Relationship Id="rId10" Type="http://schemas.openxmlformats.org/officeDocument/2006/relationships/tags" Target="../tags/tag17.xml"/><Relationship Id="rId19" Type="http://schemas.openxmlformats.org/officeDocument/2006/relationships/tags" Target="../tags/tag26.xml"/><Relationship Id="rId31" Type="http://schemas.openxmlformats.org/officeDocument/2006/relationships/tags" Target="../tags/tag38.xml"/><Relationship Id="rId4" Type="http://schemas.openxmlformats.org/officeDocument/2006/relationships/tags" Target="../tags/tag11.xml"/><Relationship Id="rId9" Type="http://schemas.openxmlformats.org/officeDocument/2006/relationships/tags" Target="../tags/tag16.xml"/><Relationship Id="rId14" Type="http://schemas.openxmlformats.org/officeDocument/2006/relationships/tags" Target="../tags/tag21.xml"/><Relationship Id="rId22" Type="http://schemas.openxmlformats.org/officeDocument/2006/relationships/tags" Target="../tags/tag29.xml"/><Relationship Id="rId27" Type="http://schemas.openxmlformats.org/officeDocument/2006/relationships/tags" Target="../tags/tag34.xml"/><Relationship Id="rId30" Type="http://schemas.openxmlformats.org/officeDocument/2006/relationships/tags" Target="../tags/tag37.xml"/><Relationship Id="rId35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michigan.gov/whitmer/0,9309,7-387-90499_90640-566953--,00.html" TargetMode="External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6D407E7-4BB6-4F57-90E6-BD3C0CEDC7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566551"/>
            <a:ext cx="9144000" cy="2387600"/>
          </a:xfrm>
        </p:spPr>
        <p:txBody>
          <a:bodyPr/>
          <a:lstStyle/>
          <a:p>
            <a:r>
              <a:rPr lang="en-US" dirty="0"/>
              <a:t>COVID-19 Booster Doses in Skilled Nursing Facilities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8582AAEF-5658-481E-BE07-A1986D19E9E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8612" y="5202238"/>
            <a:ext cx="9144000" cy="1655762"/>
          </a:xfrm>
        </p:spPr>
        <p:txBody>
          <a:bodyPr>
            <a:normAutofit lnSpcReduction="10000"/>
          </a:bodyPr>
          <a:lstStyle/>
          <a:p>
            <a:pPr algn="l"/>
            <a:r>
              <a:rPr lang="en-US" dirty="0"/>
              <a:t>Joe Coyle, MPH</a:t>
            </a:r>
          </a:p>
          <a:p>
            <a:pPr algn="l"/>
            <a:r>
              <a:rPr lang="en-US" dirty="0"/>
              <a:t>Director, Bureau of Infectious Disease Prevention</a:t>
            </a:r>
          </a:p>
          <a:p>
            <a:pPr algn="l"/>
            <a:r>
              <a:rPr lang="en-US" dirty="0"/>
              <a:t>Michigan Department of Health and Human Services</a:t>
            </a:r>
          </a:p>
          <a:p>
            <a:pPr algn="l"/>
            <a:r>
              <a:rPr lang="en-US" dirty="0"/>
              <a:t>12/8/2021</a:t>
            </a:r>
          </a:p>
        </p:txBody>
      </p:sp>
      <p:pic>
        <p:nvPicPr>
          <p:cNvPr id="2050" name="Picture 2" descr="vaccine vial">
            <a:extLst>
              <a:ext uri="{FF2B5EF4-FFF2-40B4-BE49-F238E27FC236}">
                <a16:creationId xmlns:a16="http://schemas.microsoft.com/office/drawing/2014/main" id="{A5DA382C-8185-4EA8-B225-33A5CF2AB8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66329" y="2764887"/>
            <a:ext cx="3078419" cy="30784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100932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F3CED2-BCC8-47F3-8989-3566D94500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45329"/>
            <a:ext cx="10515600" cy="1325563"/>
          </a:xfrm>
        </p:spPr>
        <p:txBody>
          <a:bodyPr/>
          <a:lstStyle/>
          <a:p>
            <a:r>
              <a:rPr lang="en-US" dirty="0"/>
              <a:t>MDHHS Activities and Goal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CA88848-0E84-4F9F-B565-838610AB343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570892"/>
            <a:ext cx="10515600" cy="5040923"/>
          </a:xfrm>
        </p:spPr>
        <p:txBody>
          <a:bodyPr/>
          <a:lstStyle/>
          <a:p>
            <a:r>
              <a:rPr lang="en-US" dirty="0"/>
              <a:t>Monitoring data to identify trends and gaps in booster administration</a:t>
            </a:r>
          </a:p>
          <a:p>
            <a:r>
              <a:rPr lang="en-US" dirty="0"/>
              <a:t>Reaching out to facilities to confirm data is accurate</a:t>
            </a:r>
          </a:p>
          <a:p>
            <a:r>
              <a:rPr lang="en-US" dirty="0"/>
              <a:t>Reaching out to facilities that have lower booster administration coverage</a:t>
            </a:r>
          </a:p>
          <a:p>
            <a:r>
              <a:rPr lang="en-US" dirty="0"/>
              <a:t>Providing direct assistance to skilled nursing facilities, if needed, to identify vaccination partners to hold on-site vaccination clinics</a:t>
            </a:r>
          </a:p>
          <a:p>
            <a:endParaRPr lang="en-US" dirty="0"/>
          </a:p>
          <a:p>
            <a:r>
              <a:rPr lang="en-US" b="1" dirty="0"/>
              <a:t>Goal: </a:t>
            </a:r>
            <a:r>
              <a:rPr lang="en-US" dirty="0"/>
              <a:t>Offer COVID-19 booster to every eligible nursing home resident by the end of the calendar year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651958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B3B90D-ED2D-4E63-A50D-3B90F61A78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06942"/>
            <a:ext cx="10515600" cy="1325563"/>
          </a:xfrm>
        </p:spPr>
        <p:txBody>
          <a:bodyPr/>
          <a:lstStyle/>
          <a:p>
            <a:r>
              <a:rPr lang="en-US" dirty="0"/>
              <a:t>NHSN Booster Data Qualit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44E50F7-24B2-4181-A82D-95D49C3DA15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32506"/>
            <a:ext cx="10515600" cy="5318552"/>
          </a:xfrm>
        </p:spPr>
        <p:txBody>
          <a:bodyPr>
            <a:normAutofit fontScale="92500" lnSpcReduction="20000"/>
          </a:bodyPr>
          <a:lstStyle/>
          <a:p>
            <a:r>
              <a:rPr lang="en-US" dirty="0"/>
              <a:t>The only real way for MDHHS to monitor facility-specific booster administrations is to view the facility self-reported data through the NHSN</a:t>
            </a:r>
          </a:p>
          <a:p>
            <a:endParaRPr lang="en-US" dirty="0"/>
          </a:p>
          <a:p>
            <a:r>
              <a:rPr lang="en-US" dirty="0"/>
              <a:t>When examining those data we had questions about the accuracy of the information</a:t>
            </a:r>
          </a:p>
          <a:p>
            <a:endParaRPr lang="en-US" dirty="0"/>
          </a:p>
          <a:p>
            <a:r>
              <a:rPr lang="en-US" dirty="0"/>
              <a:t>Once we assure data quality, we can use the information through the NHSN to measure progress towards booster vaccination goals and use the facility-specific information to conduct more targeted outreach</a:t>
            </a:r>
          </a:p>
          <a:p>
            <a:endParaRPr lang="en-US" dirty="0"/>
          </a:p>
          <a:p>
            <a:pPr lvl="1"/>
            <a:r>
              <a:rPr lang="en-US" dirty="0"/>
              <a:t>Are facilities correctly reporting the number of residents eligible for a COVID-19 booster?</a:t>
            </a:r>
          </a:p>
          <a:p>
            <a:endParaRPr lang="en-US" dirty="0"/>
          </a:p>
          <a:p>
            <a:pPr lvl="1"/>
            <a:r>
              <a:rPr lang="en-US" dirty="0"/>
              <a:t>Are facilities correctly reporting the number of residents that received a COVID-19 booster?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636141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36676B6E-1539-4111-A3E3-D9AC250AF78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68780606"/>
              </p:ext>
            </p:extLst>
          </p:nvPr>
        </p:nvGraphicFramePr>
        <p:xfrm>
          <a:off x="93234" y="997979"/>
          <a:ext cx="12005531" cy="5593977"/>
        </p:xfrm>
        <a:graphic>
          <a:graphicData uri="http://schemas.openxmlformats.org/drawingml/2006/table">
            <a:tbl>
              <a:tblPr/>
              <a:tblGrid>
                <a:gridCol w="1375435">
                  <a:extLst>
                    <a:ext uri="{9D8B030D-6E8A-4147-A177-3AD203B41FA5}">
                      <a16:colId xmlns:a16="http://schemas.microsoft.com/office/drawing/2014/main" val="3109558795"/>
                    </a:ext>
                  </a:extLst>
                </a:gridCol>
                <a:gridCol w="1328762">
                  <a:extLst>
                    <a:ext uri="{9D8B030D-6E8A-4147-A177-3AD203B41FA5}">
                      <a16:colId xmlns:a16="http://schemas.microsoft.com/office/drawing/2014/main" val="4171671323"/>
                    </a:ext>
                  </a:extLst>
                </a:gridCol>
                <a:gridCol w="1328762">
                  <a:extLst>
                    <a:ext uri="{9D8B030D-6E8A-4147-A177-3AD203B41FA5}">
                      <a16:colId xmlns:a16="http://schemas.microsoft.com/office/drawing/2014/main" val="920283382"/>
                    </a:ext>
                  </a:extLst>
                </a:gridCol>
                <a:gridCol w="1328762">
                  <a:extLst>
                    <a:ext uri="{9D8B030D-6E8A-4147-A177-3AD203B41FA5}">
                      <a16:colId xmlns:a16="http://schemas.microsoft.com/office/drawing/2014/main" val="3946235472"/>
                    </a:ext>
                  </a:extLst>
                </a:gridCol>
                <a:gridCol w="1328762">
                  <a:extLst>
                    <a:ext uri="{9D8B030D-6E8A-4147-A177-3AD203B41FA5}">
                      <a16:colId xmlns:a16="http://schemas.microsoft.com/office/drawing/2014/main" val="1917550060"/>
                    </a:ext>
                  </a:extLst>
                </a:gridCol>
                <a:gridCol w="1328762">
                  <a:extLst>
                    <a:ext uri="{9D8B030D-6E8A-4147-A177-3AD203B41FA5}">
                      <a16:colId xmlns:a16="http://schemas.microsoft.com/office/drawing/2014/main" val="3779545826"/>
                    </a:ext>
                  </a:extLst>
                </a:gridCol>
                <a:gridCol w="1328762">
                  <a:extLst>
                    <a:ext uri="{9D8B030D-6E8A-4147-A177-3AD203B41FA5}">
                      <a16:colId xmlns:a16="http://schemas.microsoft.com/office/drawing/2014/main" val="312300555"/>
                    </a:ext>
                  </a:extLst>
                </a:gridCol>
                <a:gridCol w="1328762">
                  <a:extLst>
                    <a:ext uri="{9D8B030D-6E8A-4147-A177-3AD203B41FA5}">
                      <a16:colId xmlns:a16="http://schemas.microsoft.com/office/drawing/2014/main" val="117238721"/>
                    </a:ext>
                  </a:extLst>
                </a:gridCol>
                <a:gridCol w="1328762">
                  <a:extLst>
                    <a:ext uri="{9D8B030D-6E8A-4147-A177-3AD203B41FA5}">
                      <a16:colId xmlns:a16="http://schemas.microsoft.com/office/drawing/2014/main" val="472446848"/>
                    </a:ext>
                  </a:extLst>
                </a:gridCol>
              </a:tblGrid>
              <a:tr h="136671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ek Ending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cilities Reporting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Resident Census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% of Facilities Reporting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umber of Residents Fully Vaccinated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% of Residents Fully Vaccinated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mulative Residents Eligible for Booster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mulative Residents with a Booster Received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% of Eligible Residents with Booster Received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76556781"/>
                  </a:ext>
                </a:extLst>
              </a:tr>
              <a:tr h="45557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/10/2021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1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519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088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.8%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40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4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2%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8928477"/>
                  </a:ext>
                </a:extLst>
              </a:tr>
              <a:tr h="45557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/17/2021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9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368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.5%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023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.0%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41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0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0%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01446279"/>
                  </a:ext>
                </a:extLst>
              </a:tr>
              <a:tr h="45557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/24/2021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8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361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.3%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059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.1%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62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5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0%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08495264"/>
                  </a:ext>
                </a:extLst>
              </a:tr>
              <a:tr h="45557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/31/2021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7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428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.1%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207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.4%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15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2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3%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797247"/>
                  </a:ext>
                </a:extLst>
              </a:tr>
              <a:tr h="45557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/7/2021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9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547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.5%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301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.4%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37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96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1%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16244730"/>
                  </a:ext>
                </a:extLst>
              </a:tr>
              <a:tr h="45557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/14/2021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7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291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.1%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114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.4%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84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82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7%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2246767"/>
                  </a:ext>
                </a:extLst>
              </a:tr>
              <a:tr h="45557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/21/2021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0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416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.8%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402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.0%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672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95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.1%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17719044"/>
                  </a:ext>
                </a:extLst>
              </a:tr>
              <a:tr h="45557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/28/2021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4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962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.4%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021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.0%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895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56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.8%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30583534"/>
                  </a:ext>
                </a:extLst>
              </a:tr>
              <a:tr h="58267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/5/2021 (incomplete)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5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096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9C0006"/>
                          </a:solidFill>
                          <a:effectLst/>
                          <a:latin typeface="Calibri" panose="020F0502020204030204" pitchFamily="34" charset="0"/>
                        </a:rPr>
                        <a:t>64.6%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841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.3%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66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58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.3%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8700502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E049F202-52E5-4D6C-942F-FEE4CC58E029}"/>
              </a:ext>
            </a:extLst>
          </p:cNvPr>
          <p:cNvSpPr txBox="1"/>
          <p:nvPr/>
        </p:nvSpPr>
        <p:spPr>
          <a:xfrm>
            <a:off x="351692" y="266044"/>
            <a:ext cx="1176623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/>
              <a:t>Weekly Summary of SNF Resident Vaccination and Booster Eligibility/Coverage</a:t>
            </a:r>
          </a:p>
        </p:txBody>
      </p:sp>
    </p:spTree>
    <p:extLst>
      <p:ext uri="{BB962C8B-B14F-4D97-AF65-F5344CB8AC3E}">
        <p14:creationId xmlns:p14="http://schemas.microsoft.com/office/powerpoint/2010/main" val="212782180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FAC3E24-8D49-435F-A09D-9BDB046D79E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8158" y="434337"/>
            <a:ext cx="11835684" cy="623422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19C3B27A-67B0-4173-8660-55F3978270C7}"/>
              </a:ext>
            </a:extLst>
          </p:cNvPr>
          <p:cNvSpPr/>
          <p:nvPr/>
        </p:nvSpPr>
        <p:spPr>
          <a:xfrm>
            <a:off x="6072554" y="211015"/>
            <a:ext cx="1967166" cy="6457542"/>
          </a:xfrm>
          <a:prstGeom prst="rect">
            <a:avLst/>
          </a:prstGeom>
          <a:noFill/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BB56467-90D4-4A26-B9D3-51D0DFCFB757}"/>
              </a:ext>
            </a:extLst>
          </p:cNvPr>
          <p:cNvSpPr/>
          <p:nvPr/>
        </p:nvSpPr>
        <p:spPr>
          <a:xfrm>
            <a:off x="10034953" y="211015"/>
            <a:ext cx="1967166" cy="6457542"/>
          </a:xfrm>
          <a:prstGeom prst="rect">
            <a:avLst/>
          </a:prstGeom>
          <a:noFill/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DBF077B-3203-4F6B-874B-E6D1B88838B0}"/>
              </a:ext>
            </a:extLst>
          </p:cNvPr>
          <p:cNvSpPr txBox="1"/>
          <p:nvPr/>
        </p:nvSpPr>
        <p:spPr>
          <a:xfrm>
            <a:off x="0" y="65005"/>
            <a:ext cx="579524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/>
              <a:t>To give you a sense of what we are seeing….</a:t>
            </a:r>
          </a:p>
        </p:txBody>
      </p:sp>
    </p:spTree>
    <p:extLst>
      <p:ext uri="{BB962C8B-B14F-4D97-AF65-F5344CB8AC3E}">
        <p14:creationId xmlns:p14="http://schemas.microsoft.com/office/powerpoint/2010/main" val="9567131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2D540BD9-782F-4B34-82B9-D00ABCF32AD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679823"/>
            <a:ext cx="12192000" cy="5498353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7A1D5E8B-6BC1-4575-8339-AD100C65457F}"/>
              </a:ext>
            </a:extLst>
          </p:cNvPr>
          <p:cNvSpPr/>
          <p:nvPr/>
        </p:nvSpPr>
        <p:spPr>
          <a:xfrm>
            <a:off x="8639907" y="586154"/>
            <a:ext cx="1770185" cy="5709139"/>
          </a:xfrm>
          <a:prstGeom prst="rect">
            <a:avLst/>
          </a:prstGeom>
          <a:noFill/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FC45C2D-C791-4FB1-AE77-699556796ED4}"/>
              </a:ext>
            </a:extLst>
          </p:cNvPr>
          <p:cNvSpPr/>
          <p:nvPr/>
        </p:nvSpPr>
        <p:spPr>
          <a:xfrm>
            <a:off x="10410092" y="586154"/>
            <a:ext cx="1770185" cy="5709139"/>
          </a:xfrm>
          <a:prstGeom prst="rect">
            <a:avLst/>
          </a:prstGeom>
          <a:noFill/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52004AB-D71C-4F4F-B23C-638E85FC7680}"/>
              </a:ext>
            </a:extLst>
          </p:cNvPr>
          <p:cNvSpPr txBox="1"/>
          <p:nvPr/>
        </p:nvSpPr>
        <p:spPr>
          <a:xfrm>
            <a:off x="0" y="65005"/>
            <a:ext cx="579524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/>
              <a:t>To give you a sense of what we are seeing….</a:t>
            </a:r>
          </a:p>
        </p:txBody>
      </p:sp>
    </p:spTree>
    <p:extLst>
      <p:ext uri="{BB962C8B-B14F-4D97-AF65-F5344CB8AC3E}">
        <p14:creationId xmlns:p14="http://schemas.microsoft.com/office/powerpoint/2010/main" val="251219911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239DBA-FE32-46C2-B0D4-2E19F0B804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966938" cy="1325563"/>
          </a:xfrm>
        </p:spPr>
        <p:txBody>
          <a:bodyPr/>
          <a:lstStyle/>
          <a:p>
            <a:r>
              <a:rPr lang="en-US" dirty="0"/>
              <a:t>MDHHS SNF Booster Data Validation Outreach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6B4DC9D-4E60-4439-8850-3CE2705D4E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966938" cy="4351338"/>
          </a:xfrm>
        </p:spPr>
        <p:txBody>
          <a:bodyPr>
            <a:normAutofit/>
          </a:bodyPr>
          <a:lstStyle/>
          <a:p>
            <a:r>
              <a:rPr lang="en-US" dirty="0"/>
              <a:t>Within the last week MDHHS reached out 359 SNFs regarding their NHSN booster reporting</a:t>
            </a:r>
          </a:p>
          <a:p>
            <a:pPr lvl="1"/>
            <a:r>
              <a:rPr lang="en-US" sz="2800" dirty="0"/>
              <a:t>Spoke with 236 facilities successfully (66%)</a:t>
            </a:r>
          </a:p>
          <a:p>
            <a:pPr lvl="2"/>
            <a:r>
              <a:rPr lang="en-US" sz="2800" dirty="0"/>
              <a:t>Of those 89 (38%) reported having some NHSN data inaccuracies</a:t>
            </a:r>
          </a:p>
          <a:p>
            <a:pPr lvl="2"/>
            <a:r>
              <a:rPr lang="en-US" sz="2800" dirty="0"/>
              <a:t>Of those 22 (9%) asked for assistance in setting up a COVID-19 vaccine clinic</a:t>
            </a:r>
          </a:p>
          <a:p>
            <a:pPr lvl="2"/>
            <a:endParaRPr lang="en-US" sz="2800" dirty="0"/>
          </a:p>
          <a:p>
            <a:r>
              <a:rPr lang="en-US" dirty="0"/>
              <a:t>MDHHS or the associations may continue to reach out to facilities (especially those for which we were unable to make contact with successfully)</a:t>
            </a:r>
          </a:p>
        </p:txBody>
      </p:sp>
    </p:spTree>
    <p:extLst>
      <p:ext uri="{BB962C8B-B14F-4D97-AF65-F5344CB8AC3E}">
        <p14:creationId xmlns:p14="http://schemas.microsoft.com/office/powerpoint/2010/main" val="119044783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36676B6E-1539-4111-A3E3-D9AC250AF78E}"/>
              </a:ext>
            </a:extLst>
          </p:cNvPr>
          <p:cNvGraphicFramePr>
            <a:graphicFrameLocks noGrp="1"/>
          </p:cNvGraphicFramePr>
          <p:nvPr/>
        </p:nvGraphicFramePr>
        <p:xfrm>
          <a:off x="93234" y="997979"/>
          <a:ext cx="12005531" cy="5593977"/>
        </p:xfrm>
        <a:graphic>
          <a:graphicData uri="http://schemas.openxmlformats.org/drawingml/2006/table">
            <a:tbl>
              <a:tblPr/>
              <a:tblGrid>
                <a:gridCol w="1375435">
                  <a:extLst>
                    <a:ext uri="{9D8B030D-6E8A-4147-A177-3AD203B41FA5}">
                      <a16:colId xmlns:a16="http://schemas.microsoft.com/office/drawing/2014/main" val="3109558795"/>
                    </a:ext>
                  </a:extLst>
                </a:gridCol>
                <a:gridCol w="1328762">
                  <a:extLst>
                    <a:ext uri="{9D8B030D-6E8A-4147-A177-3AD203B41FA5}">
                      <a16:colId xmlns:a16="http://schemas.microsoft.com/office/drawing/2014/main" val="4171671323"/>
                    </a:ext>
                  </a:extLst>
                </a:gridCol>
                <a:gridCol w="1328762">
                  <a:extLst>
                    <a:ext uri="{9D8B030D-6E8A-4147-A177-3AD203B41FA5}">
                      <a16:colId xmlns:a16="http://schemas.microsoft.com/office/drawing/2014/main" val="920283382"/>
                    </a:ext>
                  </a:extLst>
                </a:gridCol>
                <a:gridCol w="1328762">
                  <a:extLst>
                    <a:ext uri="{9D8B030D-6E8A-4147-A177-3AD203B41FA5}">
                      <a16:colId xmlns:a16="http://schemas.microsoft.com/office/drawing/2014/main" val="3946235472"/>
                    </a:ext>
                  </a:extLst>
                </a:gridCol>
                <a:gridCol w="1328762">
                  <a:extLst>
                    <a:ext uri="{9D8B030D-6E8A-4147-A177-3AD203B41FA5}">
                      <a16:colId xmlns:a16="http://schemas.microsoft.com/office/drawing/2014/main" val="1917550060"/>
                    </a:ext>
                  </a:extLst>
                </a:gridCol>
                <a:gridCol w="1328762">
                  <a:extLst>
                    <a:ext uri="{9D8B030D-6E8A-4147-A177-3AD203B41FA5}">
                      <a16:colId xmlns:a16="http://schemas.microsoft.com/office/drawing/2014/main" val="3779545826"/>
                    </a:ext>
                  </a:extLst>
                </a:gridCol>
                <a:gridCol w="1328762">
                  <a:extLst>
                    <a:ext uri="{9D8B030D-6E8A-4147-A177-3AD203B41FA5}">
                      <a16:colId xmlns:a16="http://schemas.microsoft.com/office/drawing/2014/main" val="312300555"/>
                    </a:ext>
                  </a:extLst>
                </a:gridCol>
                <a:gridCol w="1328762">
                  <a:extLst>
                    <a:ext uri="{9D8B030D-6E8A-4147-A177-3AD203B41FA5}">
                      <a16:colId xmlns:a16="http://schemas.microsoft.com/office/drawing/2014/main" val="117238721"/>
                    </a:ext>
                  </a:extLst>
                </a:gridCol>
                <a:gridCol w="1328762">
                  <a:extLst>
                    <a:ext uri="{9D8B030D-6E8A-4147-A177-3AD203B41FA5}">
                      <a16:colId xmlns:a16="http://schemas.microsoft.com/office/drawing/2014/main" val="472446848"/>
                    </a:ext>
                  </a:extLst>
                </a:gridCol>
              </a:tblGrid>
              <a:tr h="136671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ek Ending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cilities Reporting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Resident Census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% of Facilities Reporting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umber of Residents Fully Vaccinated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% of Residents Fully Vaccinated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mulative Residents Eligible for Booster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mulative Residents with a Booster Received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% of Eligible Residents with Booster Received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76556781"/>
                  </a:ext>
                </a:extLst>
              </a:tr>
              <a:tr h="45557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/10/2021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1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519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088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.8%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40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4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2%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8928477"/>
                  </a:ext>
                </a:extLst>
              </a:tr>
              <a:tr h="45557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/17/2021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9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368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.5%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023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.0%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41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0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0%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01446279"/>
                  </a:ext>
                </a:extLst>
              </a:tr>
              <a:tr h="45557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/24/2021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8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361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.3%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059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.1%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62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5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0%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08495264"/>
                  </a:ext>
                </a:extLst>
              </a:tr>
              <a:tr h="45557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/31/2021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7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428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.1%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207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.4%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15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2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3%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797247"/>
                  </a:ext>
                </a:extLst>
              </a:tr>
              <a:tr h="45557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/7/2021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9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547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.5%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301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.4%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37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96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1%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16244730"/>
                  </a:ext>
                </a:extLst>
              </a:tr>
              <a:tr h="45557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/14/2021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7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291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.1%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114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.4%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84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82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7%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2246767"/>
                  </a:ext>
                </a:extLst>
              </a:tr>
              <a:tr h="45557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/21/2021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0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416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.8%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402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.0%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672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95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.1%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17719044"/>
                  </a:ext>
                </a:extLst>
              </a:tr>
              <a:tr h="45557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/28/2021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4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962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.4%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021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.0%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895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56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.8%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30583534"/>
                  </a:ext>
                </a:extLst>
              </a:tr>
              <a:tr h="58267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/5/2021 (incomplete)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5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096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9C0006"/>
                          </a:solidFill>
                          <a:effectLst/>
                          <a:latin typeface="Calibri" panose="020F0502020204030204" pitchFamily="34" charset="0"/>
                        </a:rPr>
                        <a:t>64.6%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841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.3%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66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58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.3%</a:t>
                      </a:r>
                    </a:p>
                  </a:txBody>
                  <a:tcPr marL="6496" marR="6496" marT="64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8700502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E049F202-52E5-4D6C-942F-FEE4CC58E029}"/>
              </a:ext>
            </a:extLst>
          </p:cNvPr>
          <p:cNvSpPr txBox="1"/>
          <p:nvPr/>
        </p:nvSpPr>
        <p:spPr>
          <a:xfrm>
            <a:off x="351692" y="266044"/>
            <a:ext cx="1176623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/>
              <a:t>Weekly Summary of SNF Resident Vaccination and Booster Eligibility/Coverage</a:t>
            </a:r>
          </a:p>
        </p:txBody>
      </p:sp>
    </p:spTree>
    <p:extLst>
      <p:ext uri="{BB962C8B-B14F-4D97-AF65-F5344CB8AC3E}">
        <p14:creationId xmlns:p14="http://schemas.microsoft.com/office/powerpoint/2010/main" val="96557927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F73DD04-6BBB-4455-BD01-A5D63D9CD56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63625"/>
            <a:ext cx="10515600" cy="435133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3600" dirty="0"/>
              <a:t>Please reach out to MDHHS should you need any assistance in providing an onsite vaccination clinic!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E404FDCD-13AE-4BB2-95D7-710C4D5B17DE}"/>
              </a:ext>
            </a:extLst>
          </p:cNvPr>
          <p:cNvSpPr txBox="1">
            <a:spLocks/>
          </p:cNvSpPr>
          <p:nvPr/>
        </p:nvSpPr>
        <p:spPr>
          <a:xfrm>
            <a:off x="838200" y="2766218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1">
                <a:hlinkClick r:id="rId2"/>
              </a:rPr>
              <a:t>MDHHS-COVID-LongTermCare@Michigan.gov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285483197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17775D-9055-4A0D-9596-37DBFAE1A7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ccination Opportunities Beyond Just Booster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15AC1CE-B5DD-4DAA-95E0-B9C69AF9754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938995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6186BA-1958-49ED-A324-8A14A745FF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06509"/>
            <a:ext cx="10515600" cy="1325563"/>
          </a:xfrm>
        </p:spPr>
        <p:txBody>
          <a:bodyPr/>
          <a:lstStyle/>
          <a:p>
            <a:r>
              <a:rPr lang="en-US" b="1" dirty="0">
                <a:hlinkClick r:id="rId2"/>
              </a:rPr>
              <a:t>MDHHS-COVID-LongTermCare@Michigan.gov</a:t>
            </a:r>
            <a:endParaRPr lang="en-US" b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2C7C66A-6BF0-4408-AF1D-3C4D0E9C7FE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6309" y="1970787"/>
            <a:ext cx="5512137" cy="4627236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4400" dirty="0"/>
              <a:t>It’s also not too late for unvaccinated folks to get their first dose!</a:t>
            </a:r>
          </a:p>
          <a:p>
            <a:pPr marL="0" indent="0">
              <a:buNone/>
            </a:pPr>
            <a:endParaRPr lang="en-US" sz="4400" dirty="0"/>
          </a:p>
          <a:p>
            <a:pPr marL="0" indent="0">
              <a:spcBef>
                <a:spcPts val="0"/>
              </a:spcBef>
              <a:buNone/>
            </a:pPr>
            <a:r>
              <a:rPr lang="en-US" sz="4400" dirty="0"/>
              <a:t>Consider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4400" dirty="0"/>
              <a:t>Co-administering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4400" dirty="0"/>
              <a:t>Flu vaccine!</a:t>
            </a:r>
          </a:p>
        </p:txBody>
      </p:sp>
      <p:pic>
        <p:nvPicPr>
          <p:cNvPr id="1026" name="Picture 2" descr="illustration of a senior woman and female doctor">
            <a:extLst>
              <a:ext uri="{FF2B5EF4-FFF2-40B4-BE49-F238E27FC236}">
                <a16:creationId xmlns:a16="http://schemas.microsoft.com/office/drawing/2014/main" id="{75386AA6-DE48-4749-B434-811F448A8C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8264" y="2096294"/>
            <a:ext cx="5715000" cy="381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571044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85D4D4-A1DF-4404-A0E9-76EA0D7839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tlin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E1FC867-01AA-4851-ABBD-6E3F68306E0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43354" y="1843554"/>
            <a:ext cx="8593014" cy="4733091"/>
          </a:xfrm>
        </p:spPr>
        <p:txBody>
          <a:bodyPr/>
          <a:lstStyle/>
          <a:p>
            <a:r>
              <a:rPr lang="en-US" dirty="0"/>
              <a:t>State of the Pandemic in Michigan</a:t>
            </a:r>
          </a:p>
          <a:p>
            <a:endParaRPr lang="en-US" dirty="0"/>
          </a:p>
          <a:p>
            <a:r>
              <a:rPr lang="en-US" dirty="0"/>
              <a:t>COVID-19 Booster Recommendations and Eligible Populations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Skilled Nursing Facility Booster Data in NHSN</a:t>
            </a:r>
          </a:p>
          <a:p>
            <a:endParaRPr lang="en-US" dirty="0"/>
          </a:p>
          <a:p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6158EBB-80D7-4DB2-8783-69B2C013A85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7124"/>
          <a:stretch/>
        </p:blipFill>
        <p:spPr>
          <a:xfrm rot="16200000" flipH="1">
            <a:off x="7603335" y="2264334"/>
            <a:ext cx="6878407" cy="2308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676593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7B06CEA-C41E-4B26-8408-2D64593367C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35406" y="273780"/>
            <a:ext cx="8435909" cy="5486594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ADB3F88D-DF94-4CE5-9DE2-8C602E7C4613}"/>
              </a:ext>
            </a:extLst>
          </p:cNvPr>
          <p:cNvSpPr txBox="1"/>
          <p:nvPr/>
        </p:nvSpPr>
        <p:spPr>
          <a:xfrm>
            <a:off x="0" y="5760374"/>
            <a:ext cx="762488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>
                <a:hlinkClick r:id="rId3"/>
              </a:rPr>
              <a:t>https://data.cms.gov/covid-19/covid-19-nursing-home-data</a:t>
            </a:r>
            <a:r>
              <a:rPr lang="en-US" b="1"/>
              <a:t>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480A685-3EBF-4A5A-AA03-8CFA551B731B}"/>
              </a:ext>
            </a:extLst>
          </p:cNvPr>
          <p:cNvSpPr txBox="1"/>
          <p:nvPr/>
        </p:nvSpPr>
        <p:spPr>
          <a:xfrm>
            <a:off x="2353056" y="536448"/>
            <a:ext cx="4572000" cy="91440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2000">
                <a:solidFill>
                  <a:srgbClr val="233E5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Nursing Homes/Skilled Nursing Facilities</a:t>
            </a:r>
          </a:p>
        </p:txBody>
      </p:sp>
      <p:sp>
        <p:nvSpPr>
          <p:cNvPr id="5" name="Arrow: Pentagon 4">
            <a:extLst>
              <a:ext uri="{FF2B5EF4-FFF2-40B4-BE49-F238E27FC236}">
                <a16:creationId xmlns:a16="http://schemas.microsoft.com/office/drawing/2014/main" id="{457EA2B1-4715-4FE4-A596-0057D53DC658}"/>
              </a:ext>
            </a:extLst>
          </p:cNvPr>
          <p:cNvSpPr/>
          <p:nvPr/>
        </p:nvSpPr>
        <p:spPr>
          <a:xfrm>
            <a:off x="10154419" y="6242364"/>
            <a:ext cx="1996750" cy="615636"/>
          </a:xfrm>
          <a:prstGeom prst="homePlate">
            <a:avLst/>
          </a:prstGeom>
          <a:solidFill>
            <a:srgbClr val="051C2C"/>
          </a:solidFill>
          <a:ln w="6350" cap="sq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cienc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oundup </a:t>
            </a:r>
          </a:p>
        </p:txBody>
      </p:sp>
      <p:sp>
        <p:nvSpPr>
          <p:cNvPr id="6" name="Arrow: Pentagon 5">
            <a:extLst>
              <a:ext uri="{FF2B5EF4-FFF2-40B4-BE49-F238E27FC236}">
                <a16:creationId xmlns:a16="http://schemas.microsoft.com/office/drawing/2014/main" id="{8F1E2FB6-5A0A-4175-86DC-7F60785B64AF}"/>
              </a:ext>
            </a:extLst>
          </p:cNvPr>
          <p:cNvSpPr/>
          <p:nvPr/>
        </p:nvSpPr>
        <p:spPr>
          <a:xfrm>
            <a:off x="8469083" y="6243757"/>
            <a:ext cx="1996750" cy="615636"/>
          </a:xfrm>
          <a:prstGeom prst="homePlate">
            <a:avLst/>
          </a:prstGeom>
          <a:solidFill>
            <a:srgbClr val="051C2C"/>
          </a:solidFill>
          <a:ln w="6350" cap="sq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the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dicators</a:t>
            </a:r>
          </a:p>
        </p:txBody>
      </p:sp>
      <p:sp>
        <p:nvSpPr>
          <p:cNvPr id="7" name="Arrow: Pentagon 6">
            <a:extLst>
              <a:ext uri="{FF2B5EF4-FFF2-40B4-BE49-F238E27FC236}">
                <a16:creationId xmlns:a16="http://schemas.microsoft.com/office/drawing/2014/main" id="{7723800E-4455-4757-9E41-A3EE0BA0543E}"/>
              </a:ext>
            </a:extLst>
          </p:cNvPr>
          <p:cNvSpPr/>
          <p:nvPr/>
        </p:nvSpPr>
        <p:spPr>
          <a:xfrm>
            <a:off x="6769741" y="6243757"/>
            <a:ext cx="1996750" cy="615636"/>
          </a:xfrm>
          <a:prstGeom prst="homePlate">
            <a:avLst/>
          </a:prstGeom>
          <a:solidFill>
            <a:srgbClr val="051C2C"/>
          </a:solidFill>
          <a:ln w="6350" cap="sq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ublic Health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ponse</a:t>
            </a:r>
          </a:p>
        </p:txBody>
      </p:sp>
      <p:sp>
        <p:nvSpPr>
          <p:cNvPr id="8" name="Arrow: Pentagon 7">
            <a:extLst>
              <a:ext uri="{FF2B5EF4-FFF2-40B4-BE49-F238E27FC236}">
                <a16:creationId xmlns:a16="http://schemas.microsoft.com/office/drawing/2014/main" id="{AC91FE56-92D5-45C9-852D-924E978D60CA}"/>
              </a:ext>
            </a:extLst>
          </p:cNvPr>
          <p:cNvSpPr/>
          <p:nvPr/>
        </p:nvSpPr>
        <p:spPr>
          <a:xfrm>
            <a:off x="5079736" y="6243716"/>
            <a:ext cx="1996750" cy="615636"/>
          </a:xfrm>
          <a:prstGeom prst="homePlate">
            <a:avLst/>
          </a:prstGeom>
          <a:solidFill>
            <a:srgbClr val="051C2C"/>
          </a:solidFill>
          <a:ln w="6350" cap="sq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verity</a:t>
            </a:r>
          </a:p>
        </p:txBody>
      </p:sp>
      <p:sp>
        <p:nvSpPr>
          <p:cNvPr id="9" name="Arrow: Pentagon 8">
            <a:extLst>
              <a:ext uri="{FF2B5EF4-FFF2-40B4-BE49-F238E27FC236}">
                <a16:creationId xmlns:a16="http://schemas.microsoft.com/office/drawing/2014/main" id="{512B5250-112A-4E71-A9F4-DB3B86937F3C}"/>
              </a:ext>
            </a:extLst>
          </p:cNvPr>
          <p:cNvSpPr/>
          <p:nvPr/>
        </p:nvSpPr>
        <p:spPr>
          <a:xfrm>
            <a:off x="3375348" y="6242364"/>
            <a:ext cx="1996750" cy="615636"/>
          </a:xfrm>
          <a:prstGeom prst="homePlate">
            <a:avLst/>
          </a:prstGeom>
          <a:solidFill>
            <a:srgbClr val="051C2C"/>
          </a:solidFill>
          <a:ln w="6350" cap="sq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0" u="none" strike="noStrike" kern="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pread</a:t>
            </a:r>
          </a:p>
        </p:txBody>
      </p:sp>
      <p:sp>
        <p:nvSpPr>
          <p:cNvPr id="10" name="Arrow: Pentagon 9">
            <a:extLst>
              <a:ext uri="{FF2B5EF4-FFF2-40B4-BE49-F238E27FC236}">
                <a16:creationId xmlns:a16="http://schemas.microsoft.com/office/drawing/2014/main" id="{049C4C9D-7A4A-4385-9E14-1752E31578CE}"/>
              </a:ext>
            </a:extLst>
          </p:cNvPr>
          <p:cNvSpPr/>
          <p:nvPr/>
        </p:nvSpPr>
        <p:spPr>
          <a:xfrm>
            <a:off x="1675820" y="6242364"/>
            <a:ext cx="1996750" cy="615636"/>
          </a:xfrm>
          <a:prstGeom prst="homePlate">
            <a:avLst/>
          </a:prstGeom>
          <a:solidFill>
            <a:srgbClr val="051C2C"/>
          </a:solidFill>
          <a:ln w="6350" cap="sq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ational Comparison</a:t>
            </a:r>
          </a:p>
        </p:txBody>
      </p:sp>
      <p:sp>
        <p:nvSpPr>
          <p:cNvPr id="11" name="Arrow: Pentagon 10">
            <a:extLst>
              <a:ext uri="{FF2B5EF4-FFF2-40B4-BE49-F238E27FC236}">
                <a16:creationId xmlns:a16="http://schemas.microsoft.com/office/drawing/2014/main" id="{32B0BB4B-8AA6-4726-A8D4-26CBD8902405}"/>
              </a:ext>
            </a:extLst>
          </p:cNvPr>
          <p:cNvSpPr/>
          <p:nvPr/>
        </p:nvSpPr>
        <p:spPr>
          <a:xfrm>
            <a:off x="-9330" y="6242364"/>
            <a:ext cx="1996750" cy="615636"/>
          </a:xfrm>
          <a:prstGeom prst="homePlate">
            <a:avLst/>
          </a:prstGeom>
          <a:solidFill>
            <a:srgbClr val="1F40E6"/>
          </a:solidFill>
          <a:ln w="6350" cap="sq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pecial Populations</a:t>
            </a:r>
          </a:p>
        </p:txBody>
      </p:sp>
    </p:spTree>
    <p:extLst>
      <p:ext uri="{BB962C8B-B14F-4D97-AF65-F5344CB8AC3E}">
        <p14:creationId xmlns:p14="http://schemas.microsoft.com/office/powerpoint/2010/main" val="207087412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4E40961-F604-489A-999C-6E8962F7EA4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05439" y="353053"/>
            <a:ext cx="8781122" cy="5636986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D1508C15-9E49-4ACC-B3A4-EE14643BE16C}"/>
              </a:ext>
            </a:extLst>
          </p:cNvPr>
          <p:cNvSpPr txBox="1"/>
          <p:nvPr/>
        </p:nvSpPr>
        <p:spPr>
          <a:xfrm>
            <a:off x="0" y="5922375"/>
            <a:ext cx="829668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>
                <a:hlinkClick r:id="rId3"/>
              </a:rPr>
              <a:t>https://data.cms.gov/covid-19/covid-19-nursing-home-data</a:t>
            </a:r>
            <a:r>
              <a:rPr lang="en-US" sz="1400"/>
              <a:t>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BE5646E-5F97-42C6-9187-0AF130418942}"/>
              </a:ext>
            </a:extLst>
          </p:cNvPr>
          <p:cNvSpPr txBox="1"/>
          <p:nvPr/>
        </p:nvSpPr>
        <p:spPr>
          <a:xfrm>
            <a:off x="4535424" y="593166"/>
            <a:ext cx="4572000" cy="91440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2000">
                <a:solidFill>
                  <a:srgbClr val="233E5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Nursing Homes/Skilled Nursing Facilities</a:t>
            </a:r>
          </a:p>
        </p:txBody>
      </p:sp>
      <p:sp>
        <p:nvSpPr>
          <p:cNvPr id="6" name="Arrow: Pentagon 5">
            <a:extLst>
              <a:ext uri="{FF2B5EF4-FFF2-40B4-BE49-F238E27FC236}">
                <a16:creationId xmlns:a16="http://schemas.microsoft.com/office/drawing/2014/main" id="{05C56536-8215-46E0-8612-D6B7D42F3796}"/>
              </a:ext>
            </a:extLst>
          </p:cNvPr>
          <p:cNvSpPr/>
          <p:nvPr/>
        </p:nvSpPr>
        <p:spPr>
          <a:xfrm>
            <a:off x="10154419" y="6242364"/>
            <a:ext cx="1996750" cy="615636"/>
          </a:xfrm>
          <a:prstGeom prst="homePlate">
            <a:avLst/>
          </a:prstGeom>
          <a:solidFill>
            <a:srgbClr val="051C2C"/>
          </a:solidFill>
          <a:ln w="6350" cap="sq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cienc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oundup </a:t>
            </a:r>
          </a:p>
        </p:txBody>
      </p:sp>
      <p:sp>
        <p:nvSpPr>
          <p:cNvPr id="7" name="Arrow: Pentagon 6">
            <a:extLst>
              <a:ext uri="{FF2B5EF4-FFF2-40B4-BE49-F238E27FC236}">
                <a16:creationId xmlns:a16="http://schemas.microsoft.com/office/drawing/2014/main" id="{CB5530EE-140F-4924-9BD2-EBB5C807DE58}"/>
              </a:ext>
            </a:extLst>
          </p:cNvPr>
          <p:cNvSpPr/>
          <p:nvPr/>
        </p:nvSpPr>
        <p:spPr>
          <a:xfrm>
            <a:off x="8469083" y="6243757"/>
            <a:ext cx="1996750" cy="615636"/>
          </a:xfrm>
          <a:prstGeom prst="homePlate">
            <a:avLst/>
          </a:prstGeom>
          <a:solidFill>
            <a:srgbClr val="051C2C"/>
          </a:solidFill>
          <a:ln w="6350" cap="sq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the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dicators</a:t>
            </a:r>
          </a:p>
        </p:txBody>
      </p:sp>
      <p:sp>
        <p:nvSpPr>
          <p:cNvPr id="8" name="Arrow: Pentagon 7">
            <a:extLst>
              <a:ext uri="{FF2B5EF4-FFF2-40B4-BE49-F238E27FC236}">
                <a16:creationId xmlns:a16="http://schemas.microsoft.com/office/drawing/2014/main" id="{9FDF51FF-1B4A-4F9E-A849-19983CE92D7E}"/>
              </a:ext>
            </a:extLst>
          </p:cNvPr>
          <p:cNvSpPr/>
          <p:nvPr/>
        </p:nvSpPr>
        <p:spPr>
          <a:xfrm>
            <a:off x="6769741" y="6243757"/>
            <a:ext cx="1996750" cy="615636"/>
          </a:xfrm>
          <a:prstGeom prst="homePlate">
            <a:avLst/>
          </a:prstGeom>
          <a:solidFill>
            <a:srgbClr val="051C2C"/>
          </a:solidFill>
          <a:ln w="6350" cap="sq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ublic Health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ponse</a:t>
            </a:r>
          </a:p>
        </p:txBody>
      </p:sp>
      <p:sp>
        <p:nvSpPr>
          <p:cNvPr id="9" name="Arrow: Pentagon 8">
            <a:extLst>
              <a:ext uri="{FF2B5EF4-FFF2-40B4-BE49-F238E27FC236}">
                <a16:creationId xmlns:a16="http://schemas.microsoft.com/office/drawing/2014/main" id="{0E55C6B6-4534-4D1A-AFBE-394484A14B54}"/>
              </a:ext>
            </a:extLst>
          </p:cNvPr>
          <p:cNvSpPr/>
          <p:nvPr/>
        </p:nvSpPr>
        <p:spPr>
          <a:xfrm>
            <a:off x="5079736" y="6243716"/>
            <a:ext cx="1996750" cy="615636"/>
          </a:xfrm>
          <a:prstGeom prst="homePlate">
            <a:avLst/>
          </a:prstGeom>
          <a:solidFill>
            <a:srgbClr val="051C2C"/>
          </a:solidFill>
          <a:ln w="6350" cap="sq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verity</a:t>
            </a:r>
          </a:p>
        </p:txBody>
      </p:sp>
      <p:sp>
        <p:nvSpPr>
          <p:cNvPr id="10" name="Arrow: Pentagon 9">
            <a:extLst>
              <a:ext uri="{FF2B5EF4-FFF2-40B4-BE49-F238E27FC236}">
                <a16:creationId xmlns:a16="http://schemas.microsoft.com/office/drawing/2014/main" id="{68EA8B43-D830-4A05-BB86-56613F5FD390}"/>
              </a:ext>
            </a:extLst>
          </p:cNvPr>
          <p:cNvSpPr/>
          <p:nvPr/>
        </p:nvSpPr>
        <p:spPr>
          <a:xfrm>
            <a:off x="3375348" y="6242364"/>
            <a:ext cx="1996750" cy="615636"/>
          </a:xfrm>
          <a:prstGeom prst="homePlate">
            <a:avLst/>
          </a:prstGeom>
          <a:solidFill>
            <a:srgbClr val="051C2C"/>
          </a:solidFill>
          <a:ln w="6350" cap="sq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0" u="none" strike="noStrike" kern="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pread</a:t>
            </a:r>
          </a:p>
        </p:txBody>
      </p:sp>
      <p:sp>
        <p:nvSpPr>
          <p:cNvPr id="11" name="Arrow: Pentagon 10">
            <a:extLst>
              <a:ext uri="{FF2B5EF4-FFF2-40B4-BE49-F238E27FC236}">
                <a16:creationId xmlns:a16="http://schemas.microsoft.com/office/drawing/2014/main" id="{50D88287-1931-4214-A996-8D6C3BCBA289}"/>
              </a:ext>
            </a:extLst>
          </p:cNvPr>
          <p:cNvSpPr/>
          <p:nvPr/>
        </p:nvSpPr>
        <p:spPr>
          <a:xfrm>
            <a:off x="1675820" y="6242364"/>
            <a:ext cx="1996750" cy="615636"/>
          </a:xfrm>
          <a:prstGeom prst="homePlate">
            <a:avLst/>
          </a:prstGeom>
          <a:solidFill>
            <a:srgbClr val="051C2C"/>
          </a:solidFill>
          <a:ln w="6350" cap="sq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ational Comparison</a:t>
            </a:r>
          </a:p>
        </p:txBody>
      </p:sp>
      <p:sp>
        <p:nvSpPr>
          <p:cNvPr id="12" name="Arrow: Pentagon 11">
            <a:extLst>
              <a:ext uri="{FF2B5EF4-FFF2-40B4-BE49-F238E27FC236}">
                <a16:creationId xmlns:a16="http://schemas.microsoft.com/office/drawing/2014/main" id="{FCA159D0-4F0A-4D14-9CF5-487A52E40479}"/>
              </a:ext>
            </a:extLst>
          </p:cNvPr>
          <p:cNvSpPr/>
          <p:nvPr/>
        </p:nvSpPr>
        <p:spPr>
          <a:xfrm>
            <a:off x="-9330" y="6242364"/>
            <a:ext cx="1996750" cy="615636"/>
          </a:xfrm>
          <a:prstGeom prst="homePlate">
            <a:avLst/>
          </a:prstGeom>
          <a:solidFill>
            <a:srgbClr val="1F40E6"/>
          </a:solidFill>
          <a:ln w="6350" cap="sq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pecial Populations</a:t>
            </a:r>
          </a:p>
        </p:txBody>
      </p:sp>
    </p:spTree>
    <p:extLst>
      <p:ext uri="{BB962C8B-B14F-4D97-AF65-F5344CB8AC3E}">
        <p14:creationId xmlns:p14="http://schemas.microsoft.com/office/powerpoint/2010/main" val="138744108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D33E292-21D9-4018-8E1D-97C3A156E8A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67312" y="0"/>
            <a:ext cx="9257376" cy="59436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D8AC60B-8662-48DB-A59D-D8DF70459710}"/>
              </a:ext>
            </a:extLst>
          </p:cNvPr>
          <p:cNvSpPr txBox="1"/>
          <p:nvPr/>
        </p:nvSpPr>
        <p:spPr>
          <a:xfrm>
            <a:off x="0" y="5933235"/>
            <a:ext cx="806823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>
                <a:hlinkClick r:id="rId3"/>
              </a:rPr>
              <a:t>https://www.cdc.gov/nhsn/covid19/ltc-vaccination-dashboard.html</a:t>
            </a:r>
            <a:r>
              <a:rPr lang="en-US" sz="1400"/>
              <a:t>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729A55C-A90D-4ADD-B2EB-11753DC4056B}"/>
              </a:ext>
            </a:extLst>
          </p:cNvPr>
          <p:cNvSpPr txBox="1"/>
          <p:nvPr/>
        </p:nvSpPr>
        <p:spPr>
          <a:xfrm>
            <a:off x="5900928" y="1426464"/>
            <a:ext cx="4145280" cy="91440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1600" b="1">
                <a:solidFill>
                  <a:schemeClr val="accent1">
                    <a:lumMod val="90000"/>
                    <a:lumOff val="10000"/>
                  </a:schemeClr>
                </a:solidFill>
              </a:rPr>
              <a:t>Michigan-specific trend in nursing/skilled nursing facility staff vaccination coverage</a:t>
            </a:r>
          </a:p>
        </p:txBody>
      </p:sp>
      <p:sp>
        <p:nvSpPr>
          <p:cNvPr id="5" name="Arrow: Pentagon 4">
            <a:extLst>
              <a:ext uri="{FF2B5EF4-FFF2-40B4-BE49-F238E27FC236}">
                <a16:creationId xmlns:a16="http://schemas.microsoft.com/office/drawing/2014/main" id="{037F05C4-5C4A-462B-8FC6-26A76EBDC554}"/>
              </a:ext>
            </a:extLst>
          </p:cNvPr>
          <p:cNvSpPr/>
          <p:nvPr/>
        </p:nvSpPr>
        <p:spPr>
          <a:xfrm>
            <a:off x="10154419" y="6242364"/>
            <a:ext cx="1996750" cy="615636"/>
          </a:xfrm>
          <a:prstGeom prst="homePlate">
            <a:avLst/>
          </a:prstGeom>
          <a:solidFill>
            <a:srgbClr val="051C2C"/>
          </a:solidFill>
          <a:ln w="6350" cap="sq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cienc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oundup </a:t>
            </a:r>
          </a:p>
        </p:txBody>
      </p:sp>
      <p:sp>
        <p:nvSpPr>
          <p:cNvPr id="6" name="Arrow: Pentagon 5">
            <a:extLst>
              <a:ext uri="{FF2B5EF4-FFF2-40B4-BE49-F238E27FC236}">
                <a16:creationId xmlns:a16="http://schemas.microsoft.com/office/drawing/2014/main" id="{872AA017-7B74-4FF5-91BE-697C4BA3A952}"/>
              </a:ext>
            </a:extLst>
          </p:cNvPr>
          <p:cNvSpPr/>
          <p:nvPr/>
        </p:nvSpPr>
        <p:spPr>
          <a:xfrm>
            <a:off x="8469083" y="6243757"/>
            <a:ext cx="1996750" cy="615636"/>
          </a:xfrm>
          <a:prstGeom prst="homePlate">
            <a:avLst/>
          </a:prstGeom>
          <a:solidFill>
            <a:srgbClr val="051C2C"/>
          </a:solidFill>
          <a:ln w="6350" cap="sq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the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dicators</a:t>
            </a:r>
          </a:p>
        </p:txBody>
      </p:sp>
      <p:sp>
        <p:nvSpPr>
          <p:cNvPr id="8" name="Arrow: Pentagon 7">
            <a:extLst>
              <a:ext uri="{FF2B5EF4-FFF2-40B4-BE49-F238E27FC236}">
                <a16:creationId xmlns:a16="http://schemas.microsoft.com/office/drawing/2014/main" id="{6DA30900-7288-4666-B47A-06FB48FB7527}"/>
              </a:ext>
            </a:extLst>
          </p:cNvPr>
          <p:cNvSpPr/>
          <p:nvPr/>
        </p:nvSpPr>
        <p:spPr>
          <a:xfrm>
            <a:off x="6769741" y="6243757"/>
            <a:ext cx="1996750" cy="615636"/>
          </a:xfrm>
          <a:prstGeom prst="homePlate">
            <a:avLst/>
          </a:prstGeom>
          <a:solidFill>
            <a:srgbClr val="051C2C"/>
          </a:solidFill>
          <a:ln w="6350" cap="sq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ublic Health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ponse</a:t>
            </a:r>
          </a:p>
        </p:txBody>
      </p:sp>
      <p:sp>
        <p:nvSpPr>
          <p:cNvPr id="9" name="Arrow: Pentagon 8">
            <a:extLst>
              <a:ext uri="{FF2B5EF4-FFF2-40B4-BE49-F238E27FC236}">
                <a16:creationId xmlns:a16="http://schemas.microsoft.com/office/drawing/2014/main" id="{E9646B2E-AA28-446A-B274-CA5D733FA0F0}"/>
              </a:ext>
            </a:extLst>
          </p:cNvPr>
          <p:cNvSpPr/>
          <p:nvPr/>
        </p:nvSpPr>
        <p:spPr>
          <a:xfrm>
            <a:off x="5079736" y="6243716"/>
            <a:ext cx="1996750" cy="615636"/>
          </a:xfrm>
          <a:prstGeom prst="homePlate">
            <a:avLst/>
          </a:prstGeom>
          <a:solidFill>
            <a:srgbClr val="051C2C"/>
          </a:solidFill>
          <a:ln w="6350" cap="sq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verity</a:t>
            </a:r>
          </a:p>
        </p:txBody>
      </p:sp>
      <p:sp>
        <p:nvSpPr>
          <p:cNvPr id="10" name="Arrow: Pentagon 9">
            <a:extLst>
              <a:ext uri="{FF2B5EF4-FFF2-40B4-BE49-F238E27FC236}">
                <a16:creationId xmlns:a16="http://schemas.microsoft.com/office/drawing/2014/main" id="{F5D20CA6-9E15-4A20-B841-6EA1DC7A7A81}"/>
              </a:ext>
            </a:extLst>
          </p:cNvPr>
          <p:cNvSpPr/>
          <p:nvPr/>
        </p:nvSpPr>
        <p:spPr>
          <a:xfrm>
            <a:off x="3375348" y="6242364"/>
            <a:ext cx="1996750" cy="615636"/>
          </a:xfrm>
          <a:prstGeom prst="homePlate">
            <a:avLst/>
          </a:prstGeom>
          <a:solidFill>
            <a:srgbClr val="051C2C"/>
          </a:solidFill>
          <a:ln w="6350" cap="sq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0" u="none" strike="noStrike" kern="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pread</a:t>
            </a:r>
          </a:p>
        </p:txBody>
      </p:sp>
      <p:sp>
        <p:nvSpPr>
          <p:cNvPr id="11" name="Arrow: Pentagon 10">
            <a:extLst>
              <a:ext uri="{FF2B5EF4-FFF2-40B4-BE49-F238E27FC236}">
                <a16:creationId xmlns:a16="http://schemas.microsoft.com/office/drawing/2014/main" id="{EC688AF9-F8CD-4033-93EC-2EFF3F3F9512}"/>
              </a:ext>
            </a:extLst>
          </p:cNvPr>
          <p:cNvSpPr/>
          <p:nvPr/>
        </p:nvSpPr>
        <p:spPr>
          <a:xfrm>
            <a:off x="1675820" y="6242364"/>
            <a:ext cx="1996750" cy="615636"/>
          </a:xfrm>
          <a:prstGeom prst="homePlate">
            <a:avLst/>
          </a:prstGeom>
          <a:solidFill>
            <a:srgbClr val="051C2C"/>
          </a:solidFill>
          <a:ln w="6350" cap="sq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ational Comparison</a:t>
            </a:r>
          </a:p>
        </p:txBody>
      </p:sp>
      <p:sp>
        <p:nvSpPr>
          <p:cNvPr id="12" name="Arrow: Pentagon 11">
            <a:extLst>
              <a:ext uri="{FF2B5EF4-FFF2-40B4-BE49-F238E27FC236}">
                <a16:creationId xmlns:a16="http://schemas.microsoft.com/office/drawing/2014/main" id="{B2D6DC74-2323-4181-88E7-F3EB92192308}"/>
              </a:ext>
            </a:extLst>
          </p:cNvPr>
          <p:cNvSpPr/>
          <p:nvPr/>
        </p:nvSpPr>
        <p:spPr>
          <a:xfrm>
            <a:off x="-9330" y="6242364"/>
            <a:ext cx="1996750" cy="615636"/>
          </a:xfrm>
          <a:prstGeom prst="homePlate">
            <a:avLst/>
          </a:prstGeom>
          <a:solidFill>
            <a:srgbClr val="1F40E6"/>
          </a:solidFill>
          <a:ln w="6350" cap="sq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pecial Populations</a:t>
            </a:r>
          </a:p>
        </p:txBody>
      </p:sp>
    </p:spTree>
    <p:extLst>
      <p:ext uri="{BB962C8B-B14F-4D97-AF65-F5344CB8AC3E}">
        <p14:creationId xmlns:p14="http://schemas.microsoft.com/office/powerpoint/2010/main" val="154912377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2F0FC7-0F23-430D-863F-505AE65B5B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8255"/>
            <a:ext cx="10515600" cy="1325563"/>
          </a:xfrm>
        </p:spPr>
        <p:txBody>
          <a:bodyPr/>
          <a:lstStyle/>
          <a:p>
            <a:r>
              <a:rPr lang="en-US" dirty="0"/>
              <a:t>In Summar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4E581C7-6F65-4EEC-A1D0-846691C408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1015" y="1172307"/>
            <a:ext cx="11746523" cy="5667437"/>
          </a:xfrm>
        </p:spPr>
        <p:txBody>
          <a:bodyPr>
            <a:normAutofit fontScale="92500" lnSpcReduction="10000"/>
          </a:bodyPr>
          <a:lstStyle/>
          <a:p>
            <a:r>
              <a:rPr lang="en-US" dirty="0"/>
              <a:t>COVID-19 remains a threat to Michigan, especially our most vulnerable populations</a:t>
            </a:r>
          </a:p>
          <a:p>
            <a:pPr lvl="1"/>
            <a:r>
              <a:rPr lang="en-US" dirty="0"/>
              <a:t>Starting to see increases in cases and outbreaks in skilled nursing facilities</a:t>
            </a:r>
          </a:p>
          <a:p>
            <a:r>
              <a:rPr lang="en-US" dirty="0"/>
              <a:t>Booster doses can add to the existing protection of the fully vaccinated population, particularly the most vulnerable</a:t>
            </a:r>
          </a:p>
          <a:p>
            <a:r>
              <a:rPr lang="en-US" dirty="0"/>
              <a:t>Goal is to make sure every eligible resident is offered a booster dose by the end of the year</a:t>
            </a:r>
          </a:p>
          <a:p>
            <a:r>
              <a:rPr lang="en-US" dirty="0"/>
              <a:t>MDHHS is closely monitoring facility-specific booster administration data through the NHSN</a:t>
            </a:r>
          </a:p>
          <a:p>
            <a:r>
              <a:rPr lang="en-US" dirty="0"/>
              <a:t>You may expect to get a call from MDHHS or an association to discuss your facility’s data</a:t>
            </a:r>
          </a:p>
          <a:p>
            <a:pPr lvl="1"/>
            <a:r>
              <a:rPr lang="en-US" dirty="0"/>
              <a:t>Please be aware this is just to help determine the accuracy of data and to help MDHHS focus outreach</a:t>
            </a:r>
          </a:p>
          <a:p>
            <a:pPr lvl="1"/>
            <a:endParaRPr lang="en-US" dirty="0"/>
          </a:p>
          <a:p>
            <a:r>
              <a:rPr lang="en-US" dirty="0"/>
              <a:t> We encourage any facility needing help with an on-site vaccination clinic to reach out to us at </a:t>
            </a:r>
            <a:r>
              <a:rPr lang="en-US" b="1" dirty="0">
                <a:hlinkClick r:id="rId2"/>
              </a:rPr>
              <a:t>MDHHS-COVID-LongTermCare@Michigan.gov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8039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955FB9E-FA23-4272-BB21-D32169511D6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37525"/>
            <a:ext cx="12075754" cy="6718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129364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3F392131-FB9D-497F-B432-03581873187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36592" y="4134429"/>
            <a:ext cx="3334215" cy="190526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26A1FA5-E945-499B-B714-5751B30F63D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600" y="1829057"/>
            <a:ext cx="6477904" cy="4572638"/>
          </a:xfrm>
          <a:prstGeom prst="rect">
            <a:avLst/>
          </a:prstGeom>
        </p:spPr>
      </p:pic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453180"/>
          </a:xfrm>
        </p:spPr>
        <p:txBody>
          <a:bodyPr>
            <a:normAutofit fontScale="90000"/>
          </a:bodyPr>
          <a:lstStyle/>
          <a:p>
            <a:r>
              <a:rPr lang="en-US" dirty="0"/>
              <a:t>Statewide Hospitalization Trends: Total COVID+ Census</a:t>
            </a:r>
          </a:p>
        </p:txBody>
      </p:sp>
      <p:sp>
        <p:nvSpPr>
          <p:cNvPr id="5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ctr" defTabSz="45688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E31544A-B786-4847-BAF5-D6742B690C5E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ＭＳ Ｐゴシック" pitchFamily="34" charset="-128"/>
                <a:cs typeface="+mn-cs"/>
              </a:rPr>
              <a:pPr marL="0" marR="0" lvl="0" indent="0" algn="ctr" defTabSz="45688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838200" y="1066800"/>
            <a:ext cx="6096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ＭＳ Ｐゴシック" pitchFamily="34" charset="-128"/>
                <a:cs typeface="+mn-cs"/>
              </a:rPr>
              <a:t>Hospitalization Trends 3/1/2021 – 12/6/2021</a:t>
            </a:r>
          </a:p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ＭＳ Ｐゴシック" pitchFamily="34" charset="-128"/>
                <a:cs typeface="+mn-cs"/>
              </a:rPr>
              <a:t>Confirmed Positive &amp; Persons Under Investigation (PUI)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7772400" y="904878"/>
            <a:ext cx="4257197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ＭＳ Ｐゴシック" pitchFamily="34" charset="-128"/>
                <a:cs typeface="+mn-cs"/>
              </a:rPr>
              <a:t>The COVID+ census in hospitals has increased by 4% in the past week (previous week was 13% growth).</a:t>
            </a:r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ＭＳ Ｐゴシック" pitchFamily="34" charset="-128"/>
              <a:cs typeface="+mn-cs"/>
            </a:endParaRPr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A50021"/>
                </a:solidFill>
                <a:effectLst/>
                <a:uLnTx/>
                <a:uFillTx/>
                <a:latin typeface="Calibri" pitchFamily="34" charset="0"/>
                <a:ea typeface="ＭＳ Ｐゴシック" pitchFamily="34" charset="-128"/>
                <a:cs typeface="+mn-cs"/>
              </a:rPr>
              <a:t>The current wave’s hospitalizations are now at the highest point since the beginning of the pandemic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860646" y="2971800"/>
            <a:ext cx="16002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D78A7"/>
                </a:solidFill>
                <a:effectLst/>
                <a:uLnTx/>
                <a:uFillTx/>
                <a:latin typeface="Calibri" pitchFamily="34" charset="0"/>
                <a:ea typeface="ＭＳ Ｐゴシック" pitchFamily="34" charset="-128"/>
                <a:cs typeface="+mn-cs"/>
              </a:rPr>
              <a:t>Confirmed Positive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905000" y="5535764"/>
            <a:ext cx="4572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79646">
                    <a:lumMod val="75000"/>
                  </a:srgbClr>
                </a:solidFill>
                <a:effectLst/>
                <a:uLnTx/>
                <a:uFillTx/>
                <a:latin typeface="Calibri" pitchFamily="34" charset="0"/>
                <a:ea typeface="ＭＳ Ｐゴシック" pitchFamily="34" charset="-128"/>
                <a:cs typeface="+mn-cs"/>
              </a:rPr>
              <a:t>PUI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8270200" y="3469358"/>
            <a:ext cx="3048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ＭＳ Ｐゴシック" pitchFamily="34" charset="-128"/>
                <a:cs typeface="+mn-cs"/>
              </a:rPr>
              <a:t>Hospitalized COVID Positive Long Term Trend (beginning March 2020)</a:t>
            </a:r>
          </a:p>
        </p:txBody>
      </p:sp>
    </p:spTree>
    <p:extLst>
      <p:ext uri="{BB962C8B-B14F-4D97-AF65-F5344CB8AC3E}">
        <p14:creationId xmlns:p14="http://schemas.microsoft.com/office/powerpoint/2010/main" val="172282088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>
            <a:extLst>
              <a:ext uri="{FF2B5EF4-FFF2-40B4-BE49-F238E27FC236}">
                <a16:creationId xmlns:a16="http://schemas.microsoft.com/office/drawing/2014/main" id="{B89A972B-0FFD-45ED-BB18-A55964F539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95" imgH="396" progId="TCLayout.ActiveDocument.1">
                  <p:embed/>
                </p:oleObj>
              </mc:Choice>
              <mc:Fallback>
                <p:oleObj name="think-cell Slide" r:id="rId36" imgW="395" imgH="396" progId="TCLayout.ActiveDocument.1">
                  <p:embed/>
                  <p:pic>
                    <p:nvPicPr>
                      <p:cNvPr id="6" name="Object 2" hidden="1">
                        <a:extLst>
                          <a:ext uri="{FF2B5EF4-FFF2-40B4-BE49-F238E27FC236}">
                            <a16:creationId xmlns:a16="http://schemas.microsoft.com/office/drawing/2014/main" id="{B89A972B-0FFD-45ED-BB18-A55964F539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8EE9028B-D008-4461-BA6A-7FDF4C0B923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32507" y="2694355"/>
            <a:ext cx="387922" cy="265356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defRPr/>
            </a:pPr>
            <a:endParaRPr kumimoji="0" lang="en-US" sz="1100" u="none" strike="noStrike" kern="1200" cap="none" spc="0" normalizeH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4. Footnote">
            <a:extLst>
              <a:ext uri="{FF2B5EF4-FFF2-40B4-BE49-F238E27FC236}">
                <a16:creationId xmlns:a16="http://schemas.microsoft.com/office/drawing/2014/main" id="{ADC4FF54-3813-4667-B403-5A3F7E9D8D32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507252" y="5955834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/>
          <a:p>
            <a:pPr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Note: Death information sourced from MDHHS and reflects date of death of confirmed and probable cases.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F15F43E3-6700-4217-B44A-3A6DF4F355AD}"/>
              </a:ext>
            </a:extLst>
          </p:cNvPr>
          <p:cNvSpPr txBox="1">
            <a:spLocks/>
          </p:cNvSpPr>
          <p:nvPr/>
        </p:nvSpPr>
        <p:spPr>
          <a:xfrm>
            <a:off x="6468195" y="967702"/>
            <a:ext cx="5169067" cy="49212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Total COVID-19 deaths in confirmed and probable cases by age group (past 30 days, ending </a:t>
            </a:r>
            <a:r>
              <a:rPr lang="en-US" b="1">
                <a:solidFill>
                  <a:srgbClr val="000000"/>
                </a:solidFill>
                <a:latin typeface="Arial"/>
              </a:rPr>
              <a:t>11/29/2021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)</a:t>
            </a:r>
          </a:p>
        </p:txBody>
      </p:sp>
      <p:sp>
        <p:nvSpPr>
          <p:cNvPr id="467" name="TextBox 466">
            <a:extLst>
              <a:ext uri="{FF2B5EF4-FFF2-40B4-BE49-F238E27FC236}">
                <a16:creationId xmlns:a16="http://schemas.microsoft.com/office/drawing/2014/main" id="{15869BED-E9F6-4824-B84A-476AC34BF264}"/>
              </a:ext>
            </a:extLst>
          </p:cNvPr>
          <p:cNvSpPr txBox="1">
            <a:spLocks/>
          </p:cNvSpPr>
          <p:nvPr/>
        </p:nvSpPr>
        <p:spPr>
          <a:xfrm>
            <a:off x="554736" y="967702"/>
            <a:ext cx="5417439" cy="49212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Daily COVID-19 deaths in confirmed and probable cases per million by age group (7 day rolling average)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61F30CB2-7909-47B0-BA35-D1884F0D7459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>
            <a:off x="1977230" y="1837403"/>
            <a:ext cx="431800" cy="0"/>
          </a:xfrm>
          <a:prstGeom prst="line">
            <a:avLst/>
          </a:prstGeom>
          <a:ln w="25400" cap="rnd" cmpd="sng" algn="ctr">
            <a:solidFill>
              <a:srgbClr val="3C96B4"/>
            </a:solidFill>
            <a:prstDash val="sys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85B62CF-618F-4E32-A057-E86B9555BF89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1019967" y="1837403"/>
            <a:ext cx="431800" cy="0"/>
          </a:xfrm>
          <a:prstGeom prst="line">
            <a:avLst/>
          </a:prstGeom>
          <a:ln w="25400" cap="rnd" cmpd="sng" algn="ctr">
            <a:solidFill>
              <a:srgbClr val="051C2C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80CC0468-D54A-43D5-AA2E-3C0A8716075B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>
            <a:off x="1019967" y="2040603"/>
            <a:ext cx="431800" cy="0"/>
          </a:xfrm>
          <a:prstGeom prst="line">
            <a:avLst/>
          </a:prstGeom>
          <a:ln w="25400" cap="rnd" cmpd="sng" algn="ctr">
            <a:solidFill>
              <a:srgbClr val="00A9F4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169EBCED-2166-4385-B379-CEA17BBD30DF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>
            <a:off x="1977230" y="2040603"/>
            <a:ext cx="431800" cy="0"/>
          </a:xfrm>
          <a:prstGeom prst="line">
            <a:avLst/>
          </a:prstGeom>
          <a:ln w="25400" cap="rnd" cmpd="sng" algn="ctr">
            <a:solidFill>
              <a:srgbClr val="AAE6F0"/>
            </a:solidFill>
            <a:prstDash val="sys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23721A9-EB9E-418B-873C-39BE392AA9F0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>
            <a:off x="2921792" y="1837403"/>
            <a:ext cx="457200" cy="0"/>
          </a:xfrm>
          <a:prstGeom prst="line">
            <a:avLst/>
          </a:prstGeom>
          <a:ln w="25400" cap="rnd" cmpd="sng" algn="ctr">
            <a:solidFill>
              <a:srgbClr val="FF9999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B1888D3-2B49-4E32-98CB-058D2D00C226}"/>
              </a:ext>
            </a:extLst>
          </p:cNvPr>
          <p:cNvCxnSpPr/>
          <p:nvPr>
            <p:custDataLst>
              <p:tags r:id="rId9"/>
            </p:custDataLst>
          </p:nvPr>
        </p:nvCxnSpPr>
        <p:spPr bwMode="gray">
          <a:xfrm>
            <a:off x="2921792" y="2040603"/>
            <a:ext cx="457200" cy="0"/>
          </a:xfrm>
          <a:prstGeom prst="line">
            <a:avLst/>
          </a:prstGeom>
          <a:ln w="25400" cap="rnd" cmpd="sng" algn="ctr">
            <a:solidFill>
              <a:srgbClr val="FF5050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Text Placeholder 2">
            <a:extLst>
              <a:ext uri="{FF2B5EF4-FFF2-40B4-BE49-F238E27FC236}">
                <a16:creationId xmlns:a16="http://schemas.microsoft.com/office/drawing/2014/main" id="{E0769D82-278D-4871-9C2C-0C5F7689B816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527967" y="1765966"/>
            <a:ext cx="2524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fld id="{36C7ED01-496C-43C6-A61F-E7002C6D2E5A}" type="datetime'''''''''''''0''''''''''''''''''''''''''''''''-1''''9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+mn-lt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t>0-19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  <a:sym typeface="+mn-lt"/>
            </a:endParaRPr>
          </a:p>
        </p:txBody>
      </p:sp>
      <p:sp>
        <p:nvSpPr>
          <p:cNvPr id="103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1527967" y="1969166"/>
            <a:ext cx="32226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fld id="{DC8FCA63-9554-4525-9216-79FC2C9C551F}" type="datetime'2''''0-''''''''''''''''''''''''''''''''''''2''''''''''''9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+mn-lt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t>20-29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  <a:sym typeface="+mn-lt"/>
            </a:endParaRPr>
          </a:p>
        </p:txBody>
      </p:sp>
      <p:sp>
        <p:nvSpPr>
          <p:cNvPr id="68" name="Text Placeholder 2">
            <a:extLst>
              <a:ext uri="{FF2B5EF4-FFF2-40B4-BE49-F238E27FC236}">
                <a16:creationId xmlns:a16="http://schemas.microsoft.com/office/drawing/2014/main" id="{9BF905A6-B92C-4D18-AA1A-DC5AF8B1105C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2485230" y="1969166"/>
            <a:ext cx="32226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fld id="{EB91EBC5-9F03-43F1-90BA-C7A7C1ECC9F0}" type="datetime'50-''''''''''''''''''''''''5''''''9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+mn-lt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t>50-59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  <a:sym typeface="+mn-lt"/>
            </a:endParaRPr>
          </a:p>
        </p:txBody>
      </p:sp>
      <p:sp>
        <p:nvSpPr>
          <p:cNvPr id="106" name="Text Placeholder 2">
            <a:extLst>
              <a:ext uri="{FF2B5EF4-FFF2-40B4-BE49-F238E27FC236}">
                <a16:creationId xmlns:a16="http://schemas.microsoft.com/office/drawing/2014/main" id="{C6A70FFD-EF7A-4174-83B3-780A29E6E556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2485230" y="1765966"/>
            <a:ext cx="32226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fld id="{E18E6DA3-1A6D-4C44-B4F9-8E86603BDF83}" type="datetime'''''''4''''''0''''''-''''''''''''''''''''''''''''4''9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+mn-lt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t>40-49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  <a:sym typeface="+mn-lt"/>
            </a:endParaRPr>
          </a:p>
        </p:txBody>
      </p:sp>
      <p:sp>
        <p:nvSpPr>
          <p:cNvPr id="72" name="Text Placeholder 2">
            <a:extLst>
              <a:ext uri="{FF2B5EF4-FFF2-40B4-BE49-F238E27FC236}">
                <a16:creationId xmlns:a16="http://schemas.microsoft.com/office/drawing/2014/main" id="{FD5EE63B-6F72-4D5A-8B9D-D59CC1379DEA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3442492" y="1765966"/>
            <a:ext cx="32226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fld id="{E23662CC-1D7B-425E-9BB4-83CBD84020F9}" type="datetime'''''''''''''''''''''''''''''''''7''''0''''''-''7''''9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+mn-lt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t>70-79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  <a:sym typeface="+mn-lt"/>
            </a:endParaRPr>
          </a:p>
        </p:txBody>
      </p:sp>
      <p:sp>
        <p:nvSpPr>
          <p:cNvPr id="73" name="Text Placeholder 2">
            <a:extLst>
              <a:ext uri="{FF2B5EF4-FFF2-40B4-BE49-F238E27FC236}">
                <a16:creationId xmlns:a16="http://schemas.microsoft.com/office/drawing/2014/main" id="{752C2A84-20D2-4F5F-83B9-745EAEFE0F11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3442492" y="1969166"/>
            <a:ext cx="2143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fld id="{D2BBE58B-2890-426D-921D-DCBE1BFC1D4C}" type="datetime'''''''''''''''''''8''''''0''''''''''''''''''''+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+mn-lt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t>80+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  <a:sym typeface="+mn-lt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BD7BFC0D-7BB2-4549-B3E3-E8AD2E512576}"/>
              </a:ext>
            </a:extLst>
          </p:cNvPr>
          <p:cNvSpPr>
            <a:spLocks noGrp="1"/>
          </p:cNvSpPr>
          <p:nvPr>
            <p:ph type="title"/>
            <p:custDataLst>
              <p:tags r:id="rId16"/>
            </p:custDataLst>
          </p:nvPr>
        </p:nvSpPr>
        <p:spPr/>
        <p:txBody>
          <a:bodyPr/>
          <a:lstStyle/>
          <a:p>
            <a:r>
              <a:rPr lang="en-US"/>
              <a:t>Average and total new deaths, by age group</a:t>
            </a:r>
          </a:p>
        </p:txBody>
      </p:sp>
      <p:sp>
        <p:nvSpPr>
          <p:cNvPr id="91" name="5. Source">
            <a:extLst>
              <a:ext uri="{FF2B5EF4-FFF2-40B4-BE49-F238E27FC236}">
                <a16:creationId xmlns:a16="http://schemas.microsoft.com/office/drawing/2014/main" id="{75B3B9B6-CC7E-49E9-84A8-0AC78117B415}"/>
              </a:ext>
            </a:extLst>
          </p:cNvPr>
          <p:cNvSpPr txBox="1"/>
          <p:nvPr>
            <p:custDataLst>
              <p:tags r:id="rId17"/>
            </p:custDataLst>
          </p:nvPr>
        </p:nvSpPr>
        <p:spPr>
          <a:xfrm>
            <a:off x="525613" y="6079339"/>
            <a:ext cx="331077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ource: </a:t>
            </a:r>
            <a:r>
              <a:rPr kumimoji="0" lang="fr-FR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DHHS – Michigan </a:t>
            </a:r>
            <a:r>
              <a:rPr lang="fr-FR" sz="800" err="1">
                <a:solidFill>
                  <a:srgbClr val="000000"/>
                </a:solidFill>
                <a:latin typeface="Arial"/>
                <a:cs typeface="Arial"/>
              </a:rPr>
              <a:t>Disease</a:t>
            </a:r>
            <a:r>
              <a:rPr lang="fr-FR" sz="800">
                <a:solidFill>
                  <a:srgbClr val="000000"/>
                </a:solidFill>
                <a:latin typeface="Arial"/>
                <a:cs typeface="Arial"/>
              </a:rPr>
              <a:t> Surveillance</a:t>
            </a:r>
            <a:r>
              <a:rPr kumimoji="0" lang="fr-FR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System</a:t>
            </a:r>
            <a:r>
              <a:rPr lang="fr-FR" sz="800">
                <a:solidFill>
                  <a:srgbClr val="000000"/>
                </a:solidFill>
                <a:latin typeface="Arial"/>
                <a:cs typeface="Arial"/>
              </a:rPr>
              <a:t> (MDSS)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cxnSp>
        <p:nvCxnSpPr>
          <p:cNvPr id="93" name="LineBasicImpact 475">
            <a:extLst>
              <a:ext uri="{FF2B5EF4-FFF2-40B4-BE49-F238E27FC236}">
                <a16:creationId xmlns:a16="http://schemas.microsoft.com/office/drawing/2014/main" id="{5856229B-E666-4C8E-86E1-865363595AA6}"/>
              </a:ext>
            </a:extLst>
          </p:cNvPr>
          <p:cNvCxnSpPr>
            <a:cxnSpLocks/>
          </p:cNvCxnSpPr>
          <p:nvPr>
            <p:custDataLst>
              <p:tags r:id="rId18"/>
            </p:custDataLst>
          </p:nvPr>
        </p:nvCxnSpPr>
        <p:spPr>
          <a:xfrm flipH="1" flipV="1">
            <a:off x="6095999" y="967703"/>
            <a:ext cx="1" cy="4148137"/>
          </a:xfrm>
          <a:prstGeom prst="straightConnector1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LineBasicImpact 475">
            <a:extLst>
              <a:ext uri="{FF2B5EF4-FFF2-40B4-BE49-F238E27FC236}">
                <a16:creationId xmlns:a16="http://schemas.microsoft.com/office/drawing/2014/main" id="{BB08CF1E-0F3C-4659-B46C-5DBA4416A013}"/>
              </a:ext>
            </a:extLst>
          </p:cNvPr>
          <p:cNvCxnSpPr>
            <a:cxnSpLocks/>
          </p:cNvCxnSpPr>
          <p:nvPr>
            <p:custDataLst>
              <p:tags r:id="rId19"/>
            </p:custDataLst>
          </p:nvPr>
        </p:nvCxnSpPr>
        <p:spPr>
          <a:xfrm flipH="1">
            <a:off x="554736" y="1494752"/>
            <a:ext cx="11082528" cy="0"/>
          </a:xfrm>
          <a:prstGeom prst="straightConnector1">
            <a:avLst/>
          </a:prstGeom>
          <a:ln w="1270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1" name="Chart 80">
            <a:extLst>
              <a:ext uri="{FF2B5EF4-FFF2-40B4-BE49-F238E27FC236}">
                <a16:creationId xmlns:a16="http://schemas.microsoft.com/office/drawing/2014/main" id="{12442512-EAB3-4781-88C0-86D239B0D6C7}"/>
              </a:ext>
            </a:extLst>
          </p:cNvPr>
          <p:cNvGraphicFramePr/>
          <p:nvPr>
            <p:custDataLst>
              <p:tags r:id="rId20"/>
            </p:custDataLst>
          </p:nvPr>
        </p:nvGraphicFramePr>
        <p:xfrm>
          <a:off x="6135688" y="1758277"/>
          <a:ext cx="5584825" cy="30708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8"/>
          </a:graphicData>
        </a:graphic>
      </p:graphicFrame>
      <p:sp>
        <p:nvSpPr>
          <p:cNvPr id="95" name="Text Placeholder 2">
            <a:extLst>
              <a:ext uri="{FF2B5EF4-FFF2-40B4-BE49-F238E27FC236}">
                <a16:creationId xmlns:a16="http://schemas.microsoft.com/office/drawing/2014/main" id="{950E31BD-12C6-4DD7-915D-21F4CD839EF8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10420350" y="4838027"/>
            <a:ext cx="40005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fld id="{0AFEF729-7FBB-4A09-9789-CEC93D9735F2}" type="datetime'''''''''''''''''7''''''''''''''0''''-''7''''''9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t>70-7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  <a:sym typeface="+mn-lt"/>
            </a:endParaRPr>
          </a:p>
        </p:txBody>
      </p:sp>
      <p:sp>
        <p:nvSpPr>
          <p:cNvPr id="96" name="Text Placeholder 2">
            <a:extLst>
              <a:ext uri="{FF2B5EF4-FFF2-40B4-BE49-F238E27FC236}">
                <a16:creationId xmlns:a16="http://schemas.microsoft.com/office/drawing/2014/main" id="{3ECB6349-1771-49D0-B90D-B5C0126DC26B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8388350" y="4838027"/>
            <a:ext cx="40005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fld id="{0B9AB2A5-811A-4742-8826-695BEF303785}" type="datetime'4''0''''''''''-''''''''''4''''''''''''''''''''''''''''9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t>40-4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  <a:sym typeface="+mn-lt"/>
            </a:endParaRPr>
          </a:p>
        </p:txBody>
      </p:sp>
      <p:sp>
        <p:nvSpPr>
          <p:cNvPr id="89" name="Text Placeholder 2">
            <a:extLst>
              <a:ext uri="{FF2B5EF4-FFF2-40B4-BE49-F238E27FC236}">
                <a16:creationId xmlns:a16="http://schemas.microsoft.com/office/drawing/2014/main" id="{67C4AC8E-EE80-4710-99D4-BB7F381511FB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6399213" y="4838027"/>
            <a:ext cx="31591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fld id="{9775F3FB-0BEE-4B35-BDC4-9655357C8EE1}" type="datetime'''0''''-''''''1''''''''''9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t>0-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  <a:sym typeface="+mn-lt"/>
            </a:endParaRPr>
          </a:p>
        </p:txBody>
      </p:sp>
      <p:sp>
        <p:nvSpPr>
          <p:cNvPr id="102" name="Text Placeholder 2">
            <a:extLst>
              <a:ext uri="{FF2B5EF4-FFF2-40B4-BE49-F238E27FC236}">
                <a16:creationId xmlns:a16="http://schemas.microsoft.com/office/drawing/2014/main" id="{1208B679-2A6D-4791-8C7A-EA2D3D9FEA2B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9744075" y="4838027"/>
            <a:ext cx="40005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fld id="{901F2446-3122-417F-8749-F2CB34A3B5ED}" type="datetime'''''''''''''''''''''''6''''0''''''''''''''-6''9''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t>60-6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  <a:sym typeface="+mn-lt"/>
            </a:endParaRPr>
          </a:p>
        </p:txBody>
      </p:sp>
      <p:sp>
        <p:nvSpPr>
          <p:cNvPr id="90" name="Text Placeholder 2">
            <a:extLst>
              <a:ext uri="{FF2B5EF4-FFF2-40B4-BE49-F238E27FC236}">
                <a16:creationId xmlns:a16="http://schemas.microsoft.com/office/drawing/2014/main" id="{1BB85A9A-3145-4153-B726-481B67942127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7034213" y="4838027"/>
            <a:ext cx="40005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fld id="{334E1ACC-1B29-4A93-83F9-BCEAF9B2B910}" type="datetime'''2''''''''''''''''''''''''''''0-2''''''''''9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t>20-2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  <a:sym typeface="+mn-lt"/>
            </a:endParaRPr>
          </a:p>
        </p:txBody>
      </p:sp>
      <p:sp>
        <p:nvSpPr>
          <p:cNvPr id="94" name="Text Placeholder 2">
            <a:extLst>
              <a:ext uri="{FF2B5EF4-FFF2-40B4-BE49-F238E27FC236}">
                <a16:creationId xmlns:a16="http://schemas.microsoft.com/office/drawing/2014/main" id="{81729DC3-2072-4691-8829-F43D4FAB63FA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7710488" y="4838027"/>
            <a:ext cx="40005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fld id="{CFAF34A5-55A6-44F0-9F94-BC26EA10D761}" type="datetime'''''30''''''''''-''''''3''''''''''''''''''''''''''''''''9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t>30-3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  <a:sym typeface="+mn-lt"/>
            </a:endParaRPr>
          </a:p>
        </p:txBody>
      </p:sp>
      <p:sp>
        <p:nvSpPr>
          <p:cNvPr id="86" name="Text Placeholder 2">
            <a:extLst>
              <a:ext uri="{FF2B5EF4-FFF2-40B4-BE49-F238E27FC236}">
                <a16:creationId xmlns:a16="http://schemas.microsoft.com/office/drawing/2014/main" id="{38FDA1AB-100A-4D5B-A118-2994ABFA16DF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9066213" y="4838027"/>
            <a:ext cx="40005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fld id="{67021602-6E62-4A39-B3FE-0021F3778301}" type="datetime'''''''''''''''''''''''''''''''5''''''0-''''''''''59''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t>50-5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  <a:sym typeface="+mn-lt"/>
            </a:endParaRPr>
          </a:p>
        </p:txBody>
      </p:sp>
      <p:sp>
        <p:nvSpPr>
          <p:cNvPr id="108" name="Text Placeholder 2">
            <a:extLst>
              <a:ext uri="{FF2B5EF4-FFF2-40B4-BE49-F238E27FC236}">
                <a16:creationId xmlns:a16="http://schemas.microsoft.com/office/drawing/2014/main" id="{2EC6828F-10EF-47C3-9CEC-C23A4697AB80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11163301" y="4838027"/>
            <a:ext cx="26987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fld id="{EF48CDD3-E9C4-4B2C-B4AC-BF71C7862D35}" type="datetime'''''''''''''''''''''''''''''''''''8''''0''''+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t>80+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  <a:sym typeface="+mn-lt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43B1443-FFE2-41D5-86CB-5A92472734CB}"/>
              </a:ext>
            </a:extLst>
          </p:cNvPr>
          <p:cNvSpPr txBox="1"/>
          <p:nvPr/>
        </p:nvSpPr>
        <p:spPr>
          <a:xfrm>
            <a:off x="6373683" y="1696114"/>
            <a:ext cx="3092575" cy="38966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marL="285750" indent="-285750" algn="l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/>
              <a:t>20% of deaths below age sixty</a:t>
            </a:r>
          </a:p>
        </p:txBody>
      </p:sp>
      <p:cxnSp>
        <p:nvCxnSpPr>
          <p:cNvPr id="100" name="Straight Connector 99">
            <a:extLst>
              <a:ext uri="{FF2B5EF4-FFF2-40B4-BE49-F238E27FC236}">
                <a16:creationId xmlns:a16="http://schemas.microsoft.com/office/drawing/2014/main" id="{60C299A8-C15E-4DE5-911F-59ADD0D6A595}"/>
              </a:ext>
            </a:extLst>
          </p:cNvPr>
          <p:cNvCxnSpPr/>
          <p:nvPr>
            <p:custDataLst>
              <p:tags r:id="rId29"/>
            </p:custDataLst>
          </p:nvPr>
        </p:nvCxnSpPr>
        <p:spPr bwMode="gray">
          <a:xfrm>
            <a:off x="1019967" y="2243803"/>
            <a:ext cx="431800" cy="0"/>
          </a:xfrm>
          <a:prstGeom prst="line">
            <a:avLst/>
          </a:prstGeom>
          <a:ln w="25400" cap="rnd" cmpd="sng" algn="ctr">
            <a:solidFill>
              <a:srgbClr val="1F40E6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0F600985-39EC-4DDD-B4EA-7B7AAEBF9B58}"/>
              </a:ext>
            </a:extLst>
          </p:cNvPr>
          <p:cNvCxnSpPr/>
          <p:nvPr>
            <p:custDataLst>
              <p:tags r:id="rId30"/>
            </p:custDataLst>
          </p:nvPr>
        </p:nvCxnSpPr>
        <p:spPr bwMode="gray">
          <a:xfrm>
            <a:off x="1977230" y="2243803"/>
            <a:ext cx="431800" cy="0"/>
          </a:xfrm>
          <a:prstGeom prst="line">
            <a:avLst/>
          </a:prstGeom>
          <a:ln w="25400" cap="rnd" cmpd="sng" algn="ctr">
            <a:solidFill>
              <a:schemeClr val="tx1">
                <a:lumMod val="50000"/>
                <a:lumOff val="50000"/>
              </a:schemeClr>
            </a:solidFill>
            <a:prstDash val="sys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Text Placeholder 2">
            <a:extLst>
              <a:ext uri="{FF2B5EF4-FFF2-40B4-BE49-F238E27FC236}">
                <a16:creationId xmlns:a16="http://schemas.microsoft.com/office/drawing/2014/main" id="{D485CD5B-B79C-43C7-A166-B3A86B5FE574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1527967" y="2172366"/>
            <a:ext cx="32226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fld id="{CD847FA9-4A2A-418D-92E4-54150B3BF01C}" type="datetime'''''3''''''''''''''''0''''''''-''39''''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+mn-lt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t>30-39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  <a:sym typeface="+mn-lt"/>
            </a:endParaRPr>
          </a:p>
        </p:txBody>
      </p:sp>
      <p:sp>
        <p:nvSpPr>
          <p:cNvPr id="110" name="Text Placeholder 2">
            <a:extLst>
              <a:ext uri="{FF2B5EF4-FFF2-40B4-BE49-F238E27FC236}">
                <a16:creationId xmlns:a16="http://schemas.microsoft.com/office/drawing/2014/main" id="{7EE170EA-D593-451D-813A-047F5796C68C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2485230" y="2172366"/>
            <a:ext cx="32226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fld id="{B902602B-861F-4021-AB83-B006F2E88B63}" type="datetime'''6''''0-''''6''''''''''''9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+mn-lt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t>60-69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  <a:sym typeface="+mn-lt"/>
            </a:endParaRP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FD01C4E4-1CC1-41D5-AAC7-9EEA1DC5B334}"/>
              </a:ext>
            </a:extLst>
          </p:cNvPr>
          <p:cNvCxnSpPr/>
          <p:nvPr>
            <p:custDataLst>
              <p:tags r:id="rId33"/>
            </p:custDataLst>
          </p:nvPr>
        </p:nvCxnSpPr>
        <p:spPr bwMode="gray">
          <a:xfrm>
            <a:off x="2921792" y="2239040"/>
            <a:ext cx="457200" cy="0"/>
          </a:xfrm>
          <a:prstGeom prst="line">
            <a:avLst/>
          </a:prstGeom>
          <a:ln w="25400" cap="rnd" cmpd="sng" algn="ctr">
            <a:solidFill>
              <a:srgbClr val="A5002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8A60784B-64C1-4A82-BBBA-552467D33437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3442492" y="2167603"/>
            <a:ext cx="2143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+mn-lt"/>
              </a:rPr>
              <a:t>Total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  <a:sym typeface="+mn-lt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3120161F-81E2-469A-BFC7-231E0070428C}"/>
              </a:ext>
            </a:extLst>
          </p:cNvPr>
          <p:cNvSpPr txBox="1"/>
          <p:nvPr/>
        </p:nvSpPr>
        <p:spPr>
          <a:xfrm>
            <a:off x="525612" y="5036664"/>
            <a:ext cx="11263062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en-US">
                <a:solidFill>
                  <a:srgbClr val="000000"/>
                </a:solidFill>
              </a:rPr>
              <a:t>Through 12/6, the </a:t>
            </a:r>
            <a:r>
              <a:rPr lang="en-US">
                <a:solidFill>
                  <a:srgbClr val="000000"/>
                </a:solidFill>
                <a:latin typeface="Arial"/>
              </a:rPr>
              <a:t>7-day avg. death rate is more than 70 daily deaths per million people for those over the age of 80</a:t>
            </a:r>
          </a:p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en-US">
                <a:solidFill>
                  <a:srgbClr val="000000"/>
                </a:solidFill>
                <a:latin typeface="Arial"/>
              </a:rPr>
              <a:t>In the past 30 days, the proportion of deaths among those over 60 is steady</a:t>
            </a:r>
          </a:p>
        </p:txBody>
      </p:sp>
      <p:sp>
        <p:nvSpPr>
          <p:cNvPr id="49" name="Arrow: Pentagon 48">
            <a:extLst>
              <a:ext uri="{FF2B5EF4-FFF2-40B4-BE49-F238E27FC236}">
                <a16:creationId xmlns:a16="http://schemas.microsoft.com/office/drawing/2014/main" id="{EE2C2A1D-3C44-4F67-870F-A4729935C010}"/>
              </a:ext>
            </a:extLst>
          </p:cNvPr>
          <p:cNvSpPr/>
          <p:nvPr/>
        </p:nvSpPr>
        <p:spPr>
          <a:xfrm>
            <a:off x="10154419" y="6242364"/>
            <a:ext cx="1996750" cy="615636"/>
          </a:xfrm>
          <a:prstGeom prst="homePlate">
            <a:avLst/>
          </a:prstGeom>
          <a:solidFill>
            <a:srgbClr val="051C2C"/>
          </a:solidFill>
          <a:ln w="6350" cap="sq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cienc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oundup </a:t>
            </a:r>
          </a:p>
        </p:txBody>
      </p:sp>
      <p:sp>
        <p:nvSpPr>
          <p:cNvPr id="51" name="Arrow: Pentagon 50">
            <a:extLst>
              <a:ext uri="{FF2B5EF4-FFF2-40B4-BE49-F238E27FC236}">
                <a16:creationId xmlns:a16="http://schemas.microsoft.com/office/drawing/2014/main" id="{5E2BEEF8-E0F6-449E-A4A4-A2F8BDF26110}"/>
              </a:ext>
            </a:extLst>
          </p:cNvPr>
          <p:cNvSpPr/>
          <p:nvPr/>
        </p:nvSpPr>
        <p:spPr>
          <a:xfrm>
            <a:off x="8469083" y="6243757"/>
            <a:ext cx="1996750" cy="615636"/>
          </a:xfrm>
          <a:prstGeom prst="homePlate">
            <a:avLst/>
          </a:prstGeom>
          <a:solidFill>
            <a:srgbClr val="051C2C"/>
          </a:solidFill>
          <a:ln w="6350" cap="sq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the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dicators</a:t>
            </a:r>
          </a:p>
        </p:txBody>
      </p:sp>
      <p:sp>
        <p:nvSpPr>
          <p:cNvPr id="54" name="Arrow: Pentagon 53">
            <a:extLst>
              <a:ext uri="{FF2B5EF4-FFF2-40B4-BE49-F238E27FC236}">
                <a16:creationId xmlns:a16="http://schemas.microsoft.com/office/drawing/2014/main" id="{2ECDBE92-F3C2-4373-BF32-4DF81B09C568}"/>
              </a:ext>
            </a:extLst>
          </p:cNvPr>
          <p:cNvSpPr/>
          <p:nvPr/>
        </p:nvSpPr>
        <p:spPr>
          <a:xfrm>
            <a:off x="6769741" y="6243757"/>
            <a:ext cx="1996750" cy="615636"/>
          </a:xfrm>
          <a:prstGeom prst="homePlate">
            <a:avLst/>
          </a:prstGeom>
          <a:solidFill>
            <a:srgbClr val="051C2C"/>
          </a:solidFill>
          <a:ln w="6350" cap="sq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ublic Health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ponse</a:t>
            </a:r>
          </a:p>
        </p:txBody>
      </p:sp>
      <p:sp>
        <p:nvSpPr>
          <p:cNvPr id="57" name="Arrow: Pentagon 56">
            <a:extLst>
              <a:ext uri="{FF2B5EF4-FFF2-40B4-BE49-F238E27FC236}">
                <a16:creationId xmlns:a16="http://schemas.microsoft.com/office/drawing/2014/main" id="{B3059AB9-6156-49E6-8CAF-0A7468C2CAB4}"/>
              </a:ext>
            </a:extLst>
          </p:cNvPr>
          <p:cNvSpPr/>
          <p:nvPr/>
        </p:nvSpPr>
        <p:spPr>
          <a:xfrm>
            <a:off x="5079736" y="6243716"/>
            <a:ext cx="1996750" cy="615636"/>
          </a:xfrm>
          <a:prstGeom prst="homePlate">
            <a:avLst/>
          </a:prstGeom>
          <a:solidFill>
            <a:srgbClr val="1F40E6"/>
          </a:solidFill>
          <a:ln w="6350" cap="sq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verity</a:t>
            </a:r>
          </a:p>
        </p:txBody>
      </p:sp>
      <p:sp>
        <p:nvSpPr>
          <p:cNvPr id="61" name="Arrow: Pentagon 60">
            <a:extLst>
              <a:ext uri="{FF2B5EF4-FFF2-40B4-BE49-F238E27FC236}">
                <a16:creationId xmlns:a16="http://schemas.microsoft.com/office/drawing/2014/main" id="{4EC25341-86FA-4107-922A-F92B957FB3D6}"/>
              </a:ext>
            </a:extLst>
          </p:cNvPr>
          <p:cNvSpPr/>
          <p:nvPr/>
        </p:nvSpPr>
        <p:spPr>
          <a:xfrm>
            <a:off x="3375348" y="6242364"/>
            <a:ext cx="1996750" cy="615636"/>
          </a:xfrm>
          <a:prstGeom prst="homePlate">
            <a:avLst/>
          </a:prstGeom>
          <a:solidFill>
            <a:srgbClr val="051C2C"/>
          </a:solidFill>
          <a:ln w="6350" cap="sq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pread</a:t>
            </a:r>
          </a:p>
        </p:txBody>
      </p:sp>
      <p:sp>
        <p:nvSpPr>
          <p:cNvPr id="62" name="Arrow: Pentagon 61">
            <a:extLst>
              <a:ext uri="{FF2B5EF4-FFF2-40B4-BE49-F238E27FC236}">
                <a16:creationId xmlns:a16="http://schemas.microsoft.com/office/drawing/2014/main" id="{66CA00FF-ADF6-4C4D-8F43-A2A2E363C1C5}"/>
              </a:ext>
            </a:extLst>
          </p:cNvPr>
          <p:cNvSpPr/>
          <p:nvPr/>
        </p:nvSpPr>
        <p:spPr>
          <a:xfrm>
            <a:off x="1675820" y="6242364"/>
            <a:ext cx="1996750" cy="615636"/>
          </a:xfrm>
          <a:prstGeom prst="homePlate">
            <a:avLst/>
          </a:prstGeom>
          <a:solidFill>
            <a:srgbClr val="051C2C"/>
          </a:solidFill>
          <a:ln w="6350" cap="sq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ational Comparison</a:t>
            </a:r>
          </a:p>
        </p:txBody>
      </p:sp>
      <p:sp>
        <p:nvSpPr>
          <p:cNvPr id="63" name="Arrow: Pentagon 62">
            <a:extLst>
              <a:ext uri="{FF2B5EF4-FFF2-40B4-BE49-F238E27FC236}">
                <a16:creationId xmlns:a16="http://schemas.microsoft.com/office/drawing/2014/main" id="{0D66F96A-257E-4267-B228-0FC3A486F8B9}"/>
              </a:ext>
            </a:extLst>
          </p:cNvPr>
          <p:cNvSpPr/>
          <p:nvPr/>
        </p:nvSpPr>
        <p:spPr>
          <a:xfrm>
            <a:off x="-9330" y="6242364"/>
            <a:ext cx="1996750" cy="615636"/>
          </a:xfrm>
          <a:prstGeom prst="homePlate">
            <a:avLst/>
          </a:prstGeom>
          <a:solidFill>
            <a:srgbClr val="051C2C"/>
          </a:solidFill>
          <a:ln w="6350" cap="sq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0" u="none" strike="noStrike" kern="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pecial Populations</a:t>
            </a:r>
          </a:p>
        </p:txBody>
      </p:sp>
      <p:graphicFrame>
        <p:nvGraphicFramePr>
          <p:cNvPr id="50" name="Chart 49">
            <a:extLst>
              <a:ext uri="{FF2B5EF4-FFF2-40B4-BE49-F238E27FC236}">
                <a16:creationId xmlns:a16="http://schemas.microsoft.com/office/drawing/2014/main" id="{A6861972-F2ED-441F-BC91-76EE7916F7F5}"/>
              </a:ext>
            </a:extLst>
          </p:cNvPr>
          <p:cNvGraphicFramePr>
            <a:graphicFrameLocks/>
          </p:cNvGraphicFramePr>
          <p:nvPr/>
        </p:nvGraphicFramePr>
        <p:xfrm>
          <a:off x="554734" y="1541438"/>
          <a:ext cx="5476043" cy="34791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9"/>
          </a:graphicData>
        </a:graphic>
      </p:graphicFrame>
    </p:spTree>
    <p:extLst>
      <p:ext uri="{BB962C8B-B14F-4D97-AF65-F5344CB8AC3E}">
        <p14:creationId xmlns:p14="http://schemas.microsoft.com/office/powerpoint/2010/main" val="423859303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61482793-4B5D-44FB-B320-124B7B4E443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95961305"/>
              </p:ext>
            </p:extLst>
          </p:nvPr>
        </p:nvGraphicFramePr>
        <p:xfrm>
          <a:off x="0" y="1420009"/>
          <a:ext cx="5748054" cy="41309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08473525-3BCA-44E2-AF1D-4E1C1BA65E6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1126545"/>
              </p:ext>
            </p:extLst>
          </p:nvPr>
        </p:nvGraphicFramePr>
        <p:xfrm>
          <a:off x="6096000" y="1497129"/>
          <a:ext cx="5683661" cy="38637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Title 1">
            <a:extLst>
              <a:ext uri="{FF2B5EF4-FFF2-40B4-BE49-F238E27FC236}">
                <a16:creationId xmlns:a16="http://schemas.microsoft.com/office/drawing/2014/main" id="{08F54951-7D3E-43ED-925B-7A42D5EC8304}"/>
              </a:ext>
            </a:extLst>
          </p:cNvPr>
          <p:cNvSpPr txBox="1">
            <a:spLocks/>
          </p:cNvSpPr>
          <p:nvPr/>
        </p:nvSpPr>
        <p:spPr>
          <a:xfrm>
            <a:off x="838200" y="374269"/>
            <a:ext cx="10515600" cy="659003"/>
          </a:xfrm>
          <a:prstGeom prst="rect">
            <a:avLst/>
          </a:prstGeom>
        </p:spPr>
        <p:txBody>
          <a:bodyPr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b="1" dirty="0"/>
              <a:t>MICHIGAN SNF COVID-19 CASE TREND</a:t>
            </a:r>
          </a:p>
        </p:txBody>
      </p:sp>
    </p:spTree>
    <p:extLst>
      <p:ext uri="{BB962C8B-B14F-4D97-AF65-F5344CB8AC3E}">
        <p14:creationId xmlns:p14="http://schemas.microsoft.com/office/powerpoint/2010/main" val="402489064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403E97-A393-4EF7-AF85-D3787EE481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portunities for Boosters</a:t>
            </a:r>
          </a:p>
        </p:txBody>
      </p:sp>
    </p:spTree>
    <p:extLst>
      <p:ext uri="{BB962C8B-B14F-4D97-AF65-F5344CB8AC3E}">
        <p14:creationId xmlns:p14="http://schemas.microsoft.com/office/powerpoint/2010/main" val="132135643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50D337F-B641-4CF2-A197-E87A3BBB28B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5029"/>
            <a:ext cx="12192000" cy="6807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44505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8A43F398-7C77-48AC-8E07-76F14CE9B36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6362" y="0"/>
            <a:ext cx="9139276" cy="642655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7D7AAEC5-FAF6-44D2-B08A-CA7F6739E67C}"/>
              </a:ext>
            </a:extLst>
          </p:cNvPr>
          <p:cNvSpPr txBox="1"/>
          <p:nvPr/>
        </p:nvSpPr>
        <p:spPr>
          <a:xfrm>
            <a:off x="118304" y="6426558"/>
            <a:ext cx="887329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hlinkClick r:id="rId3"/>
              </a:rPr>
              <a:t>https://www.michigan.gov/whitmer/0,9309,7-387-90499_90640-566953--,00.html</a:t>
            </a:r>
            <a:r>
              <a:rPr lang="en-US" b="1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447433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8KQAUTkF.Aeej4F5fPQq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XgEw6ARv_FNa4wrxD8s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WaFePzs8S657iJXfQBT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JFxN.Mkr8wVX44O28Oo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4_hD296fqYed.UIJ2U6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q7Q2fA.6zNzpTVxKgbxA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icW.z5DTpIUh4R1CLov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R7IUcwLYbWbzX4N.Wpl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rEMi0PWIsyDAF2xc1m8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_NwtQHLVcaPqdC1APjGE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KAlFzJjlQHvcoJWcT2V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k89avhgQs1w4GPlxe3M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Impact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Impact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uubZbSnSIXUEEeacVoD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H2qQzxDuLYOuTxW8u_H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UHM1nV2i3J1YzOsKbfn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NTZkWlZuWcWUx8J.y6Wq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8uxCPkPORFAWtRm_ULs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aOKsMxlU0R1MgQXQbev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0Qd1rkU_HLnZ31WyF._F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tQZ3dt7xKXGp1UuewJO6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WW_OBpxR8ULaeFku1Eh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5R_7UGkqsZFDIzi0sqPp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rM9xMLToemHkr3ZNkAIj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54TkM9T.Ux4Gx0ofHSc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yVBQFZEmFXKOSNhXamG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q7Q2fA.6zNzpTVxKgbxA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k89avhgQs1w4GPlxe3M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rZBCBGIwzgTbWAwY6jvO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53</TotalTime>
  <Words>1210</Words>
  <Application>Microsoft Office PowerPoint</Application>
  <PresentationFormat>Widescreen</PresentationFormat>
  <Paragraphs>328</Paragraphs>
  <Slides>2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0" baseType="lpstr">
      <vt:lpstr>Arial</vt:lpstr>
      <vt:lpstr>Calibri</vt:lpstr>
      <vt:lpstr>Calibri Light</vt:lpstr>
      <vt:lpstr>Georgia</vt:lpstr>
      <vt:lpstr>Segoe UI</vt:lpstr>
      <vt:lpstr>Office Theme</vt:lpstr>
      <vt:lpstr>think-cell Slide</vt:lpstr>
      <vt:lpstr>COVID-19 Booster Doses in Skilled Nursing Facilities</vt:lpstr>
      <vt:lpstr>Outline</vt:lpstr>
      <vt:lpstr>PowerPoint Presentation</vt:lpstr>
      <vt:lpstr>Statewide Hospitalization Trends: Total COVID+ Census</vt:lpstr>
      <vt:lpstr>Average and total new deaths, by age group</vt:lpstr>
      <vt:lpstr>PowerPoint Presentation</vt:lpstr>
      <vt:lpstr>Opportunities for Boosters</vt:lpstr>
      <vt:lpstr>PowerPoint Presentation</vt:lpstr>
      <vt:lpstr>PowerPoint Presentation</vt:lpstr>
      <vt:lpstr>MDHHS Activities and Goals</vt:lpstr>
      <vt:lpstr>NHSN Booster Data Quality</vt:lpstr>
      <vt:lpstr>PowerPoint Presentation</vt:lpstr>
      <vt:lpstr>PowerPoint Presentation</vt:lpstr>
      <vt:lpstr>PowerPoint Presentation</vt:lpstr>
      <vt:lpstr>MDHHS SNF Booster Data Validation Outreach</vt:lpstr>
      <vt:lpstr>PowerPoint Presentation</vt:lpstr>
      <vt:lpstr>PowerPoint Presentation</vt:lpstr>
      <vt:lpstr>Vaccination Opportunities Beyond Just Boosters</vt:lpstr>
      <vt:lpstr>MDHHS-COVID-LongTermCare@Michigan.gov</vt:lpstr>
      <vt:lpstr>PowerPoint Presentation</vt:lpstr>
      <vt:lpstr>PowerPoint Presentation</vt:lpstr>
      <vt:lpstr>PowerPoint Presentation</vt:lpstr>
      <vt:lpstr>In Summary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HSN Booster Data Quality</dc:title>
  <dc:creator>Joseph Coyle</dc:creator>
  <cp:lastModifiedBy>Coyle, Joseph (DHHS)</cp:lastModifiedBy>
  <cp:revision>1</cp:revision>
  <dcterms:created xsi:type="dcterms:W3CDTF">2021-12-08T03:59:06Z</dcterms:created>
  <dcterms:modified xsi:type="dcterms:W3CDTF">2021-12-08T15:06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3a2fed65-62e7-46ea-af74-187e0c17143a_Enabled">
    <vt:lpwstr>true</vt:lpwstr>
  </property>
  <property fmtid="{D5CDD505-2E9C-101B-9397-08002B2CF9AE}" pid="3" name="MSIP_Label_3a2fed65-62e7-46ea-af74-187e0c17143a_SetDate">
    <vt:lpwstr>2021-12-08T04:11:07Z</vt:lpwstr>
  </property>
  <property fmtid="{D5CDD505-2E9C-101B-9397-08002B2CF9AE}" pid="4" name="MSIP_Label_3a2fed65-62e7-46ea-af74-187e0c17143a_Method">
    <vt:lpwstr>Privileged</vt:lpwstr>
  </property>
  <property fmtid="{D5CDD505-2E9C-101B-9397-08002B2CF9AE}" pid="5" name="MSIP_Label_3a2fed65-62e7-46ea-af74-187e0c17143a_Name">
    <vt:lpwstr>3a2fed65-62e7-46ea-af74-187e0c17143a</vt:lpwstr>
  </property>
  <property fmtid="{D5CDD505-2E9C-101B-9397-08002B2CF9AE}" pid="6" name="MSIP_Label_3a2fed65-62e7-46ea-af74-187e0c17143a_SiteId">
    <vt:lpwstr>d5fb7087-3777-42ad-966a-892ef47225d1</vt:lpwstr>
  </property>
  <property fmtid="{D5CDD505-2E9C-101B-9397-08002B2CF9AE}" pid="7" name="MSIP_Label_3a2fed65-62e7-46ea-af74-187e0c17143a_ActionId">
    <vt:lpwstr>9b311a69-5d94-48dd-a370-18af9d69c1c3</vt:lpwstr>
  </property>
  <property fmtid="{D5CDD505-2E9C-101B-9397-08002B2CF9AE}" pid="8" name="MSIP_Label_3a2fed65-62e7-46ea-af74-187e0c17143a_ContentBits">
    <vt:lpwstr>0</vt:lpwstr>
  </property>
</Properties>
</file>